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7.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8.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9.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6"/>
  </p:sldMasterIdLst>
  <p:notesMasterIdLst>
    <p:notesMasterId r:id="rId33"/>
  </p:notesMasterIdLst>
  <p:sldIdLst>
    <p:sldId id="2147482853" r:id="rId7"/>
    <p:sldId id="2147482888" r:id="rId8"/>
    <p:sldId id="2147482887" r:id="rId9"/>
    <p:sldId id="2147482890" r:id="rId10"/>
    <p:sldId id="2147482892" r:id="rId11"/>
    <p:sldId id="2147482893" r:id="rId12"/>
    <p:sldId id="2147482894" r:id="rId13"/>
    <p:sldId id="2147482897" r:id="rId14"/>
    <p:sldId id="2147482898" r:id="rId15"/>
    <p:sldId id="2147482899" r:id="rId16"/>
    <p:sldId id="2147482895" r:id="rId17"/>
    <p:sldId id="2147482896" r:id="rId18"/>
    <p:sldId id="2147482900" r:id="rId19"/>
    <p:sldId id="2147482902" r:id="rId20"/>
    <p:sldId id="2147482903" r:id="rId21"/>
    <p:sldId id="2147482904" r:id="rId22"/>
    <p:sldId id="2147482907" r:id="rId23"/>
    <p:sldId id="2147482909" r:id="rId24"/>
    <p:sldId id="2147482910" r:id="rId25"/>
    <p:sldId id="2147482913" r:id="rId26"/>
    <p:sldId id="2147482914" r:id="rId27"/>
    <p:sldId id="2147482915" r:id="rId28"/>
    <p:sldId id="2147482911" r:id="rId29"/>
    <p:sldId id="2147482918" r:id="rId30"/>
    <p:sldId id="2147482917" r:id="rId31"/>
    <p:sldId id="2147482916" r:id="rId32"/>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D47"/>
    <a:srgbClr val="ECECEC"/>
    <a:srgbClr val="FFFFFF"/>
    <a:srgbClr val="001135"/>
    <a:srgbClr val="0A0908"/>
    <a:srgbClr val="FF8B10"/>
    <a:srgbClr val="666666"/>
    <a:srgbClr val="333333"/>
    <a:srgbClr val="CCCCCC"/>
    <a:srgbClr val="FFFB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56B7F7-2A28-EB27-1F21-EFF1924A5652}" v="3" dt="2025-03-04T15:11:37.0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36" autoAdjust="0"/>
    <p:restoredTop sz="94660"/>
  </p:normalViewPr>
  <p:slideViewPr>
    <p:cSldViewPr snapToGrid="0">
      <p:cViewPr varScale="1">
        <p:scale>
          <a:sx n="147" d="100"/>
          <a:sy n="147" d="100"/>
        </p:scale>
        <p:origin x="678"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8/10/relationships/authors" Target="authors.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diagrams/_rels/data2.xml.rels><?xml version="1.0" encoding="UTF-8" standalone="yes"?>
<Relationships xmlns="http://schemas.openxmlformats.org/package/2006/relationships"><Relationship Id="rId1" Type="http://schemas.openxmlformats.org/officeDocument/2006/relationships/hyperlink" Target="https://hub.docker.com/"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s://hub.docker.com/" TargetMode="Externa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725E66-594E-4045-8581-BC78A9A9C5BA}" type="doc">
      <dgm:prSet loTypeId="urn:microsoft.com/office/officeart/2005/8/layout/StepDownProcess" loCatId="process" qsTypeId="urn:microsoft.com/office/officeart/2005/8/quickstyle/simple1" qsCatId="simple" csTypeId="urn:microsoft.com/office/officeart/2005/8/colors/accent1_5" csCatId="accent1" phldr="1"/>
      <dgm:spPr/>
      <dgm:t>
        <a:bodyPr/>
        <a:lstStyle/>
        <a:p>
          <a:endParaRPr lang="en-IN"/>
        </a:p>
      </dgm:t>
    </dgm:pt>
    <dgm:pt modelId="{D46EEB14-4237-4CD7-BBBD-B496DCC68570}">
      <dgm:prSet phldrT="[Text]"/>
      <dgm:spPr/>
      <dgm:t>
        <a:bodyPr/>
        <a:lstStyle/>
        <a:p>
          <a:r>
            <a:rPr lang="en-US" dirty="0"/>
            <a:t>Analyze</a:t>
          </a:r>
          <a:endParaRPr lang="en-IN" dirty="0"/>
        </a:p>
      </dgm:t>
    </dgm:pt>
    <dgm:pt modelId="{3AC3034E-36DA-47EA-AAAC-B3242902E5BC}" type="parTrans" cxnId="{F7706FF0-00BF-4611-A97A-C14C98E635F1}">
      <dgm:prSet/>
      <dgm:spPr/>
      <dgm:t>
        <a:bodyPr/>
        <a:lstStyle/>
        <a:p>
          <a:endParaRPr lang="en-IN"/>
        </a:p>
      </dgm:t>
    </dgm:pt>
    <dgm:pt modelId="{4DD9713C-5CE9-43A8-A533-A6686BE0CF20}" type="sibTrans" cxnId="{F7706FF0-00BF-4611-A97A-C14C98E635F1}">
      <dgm:prSet/>
      <dgm:spPr/>
      <dgm:t>
        <a:bodyPr/>
        <a:lstStyle/>
        <a:p>
          <a:endParaRPr lang="en-IN"/>
        </a:p>
      </dgm:t>
    </dgm:pt>
    <dgm:pt modelId="{26E7118B-698E-46B0-9A7F-D904AF686F33}">
      <dgm:prSet phldrT="[Text]"/>
      <dgm:spPr/>
      <dgm:t>
        <a:bodyPr/>
        <a:lstStyle/>
        <a:p>
          <a:r>
            <a:rPr lang="en-US" dirty="0"/>
            <a:t>Plan</a:t>
          </a:r>
          <a:endParaRPr lang="en-IN" dirty="0"/>
        </a:p>
      </dgm:t>
    </dgm:pt>
    <dgm:pt modelId="{4E0273DD-F40A-482A-A425-0CDDBB4B89D2}" type="parTrans" cxnId="{5A5D5A89-EEAB-4E79-B274-B66FBB03988E}">
      <dgm:prSet/>
      <dgm:spPr/>
      <dgm:t>
        <a:bodyPr/>
        <a:lstStyle/>
        <a:p>
          <a:endParaRPr lang="en-IN"/>
        </a:p>
      </dgm:t>
    </dgm:pt>
    <dgm:pt modelId="{A62C391F-B74E-4ECB-A3A6-CB28D386E8DB}" type="sibTrans" cxnId="{5A5D5A89-EEAB-4E79-B274-B66FBB03988E}">
      <dgm:prSet/>
      <dgm:spPr/>
      <dgm:t>
        <a:bodyPr/>
        <a:lstStyle/>
        <a:p>
          <a:endParaRPr lang="en-IN"/>
        </a:p>
      </dgm:t>
    </dgm:pt>
    <dgm:pt modelId="{8998B441-B5A1-413A-994F-405455BFE282}">
      <dgm:prSet phldrT="[Text]"/>
      <dgm:spPr/>
      <dgm:t>
        <a:bodyPr/>
        <a:lstStyle/>
        <a:p>
          <a:r>
            <a:rPr lang="en-US" dirty="0"/>
            <a:t>Develop</a:t>
          </a:r>
          <a:endParaRPr lang="en-IN" dirty="0"/>
        </a:p>
      </dgm:t>
    </dgm:pt>
    <dgm:pt modelId="{966A02D8-3E97-4EED-B601-E6F3E7053D2F}" type="parTrans" cxnId="{90F74BC2-02B7-4AC6-BFC3-8A751CDA1730}">
      <dgm:prSet/>
      <dgm:spPr/>
      <dgm:t>
        <a:bodyPr/>
        <a:lstStyle/>
        <a:p>
          <a:endParaRPr lang="en-IN"/>
        </a:p>
      </dgm:t>
    </dgm:pt>
    <dgm:pt modelId="{7BE662D7-8A18-4FB0-B5DC-D63129A1039C}" type="sibTrans" cxnId="{90F74BC2-02B7-4AC6-BFC3-8A751CDA1730}">
      <dgm:prSet/>
      <dgm:spPr/>
      <dgm:t>
        <a:bodyPr/>
        <a:lstStyle/>
        <a:p>
          <a:endParaRPr lang="en-IN"/>
        </a:p>
      </dgm:t>
    </dgm:pt>
    <dgm:pt modelId="{42B661FA-5B6A-4ED8-85B2-0D12891A84B6}">
      <dgm:prSet phldrT="[Text]"/>
      <dgm:spPr/>
      <dgm:t>
        <a:bodyPr/>
        <a:lstStyle/>
        <a:p>
          <a:r>
            <a:rPr lang="en-IN" dirty="0"/>
            <a:t>Test</a:t>
          </a:r>
        </a:p>
      </dgm:t>
    </dgm:pt>
    <dgm:pt modelId="{72444EAC-E852-4229-9787-BD98F48AA646}" type="parTrans" cxnId="{BD5A1FF7-B84E-46C2-B777-E30007110226}">
      <dgm:prSet/>
      <dgm:spPr/>
      <dgm:t>
        <a:bodyPr/>
        <a:lstStyle/>
        <a:p>
          <a:endParaRPr lang="en-IN"/>
        </a:p>
      </dgm:t>
    </dgm:pt>
    <dgm:pt modelId="{D9192F41-4F94-4DC9-8CEF-AABA0AEA30FE}" type="sibTrans" cxnId="{BD5A1FF7-B84E-46C2-B777-E30007110226}">
      <dgm:prSet/>
      <dgm:spPr/>
      <dgm:t>
        <a:bodyPr/>
        <a:lstStyle/>
        <a:p>
          <a:endParaRPr lang="en-IN"/>
        </a:p>
      </dgm:t>
    </dgm:pt>
    <dgm:pt modelId="{2C88CBF4-6081-463F-9199-41C61DE65432}">
      <dgm:prSet phldrT="[Text]"/>
      <dgm:spPr/>
      <dgm:t>
        <a:bodyPr/>
        <a:lstStyle/>
        <a:p>
          <a:r>
            <a:rPr lang="en-IN" dirty="0"/>
            <a:t>Deploy</a:t>
          </a:r>
        </a:p>
      </dgm:t>
    </dgm:pt>
    <dgm:pt modelId="{61930E8E-084A-40D2-BA26-267F7A428242}" type="parTrans" cxnId="{8FB6366F-2798-4B70-BF6E-8FD75703A694}">
      <dgm:prSet/>
      <dgm:spPr/>
      <dgm:t>
        <a:bodyPr/>
        <a:lstStyle/>
        <a:p>
          <a:endParaRPr lang="en-IN"/>
        </a:p>
      </dgm:t>
    </dgm:pt>
    <dgm:pt modelId="{D8D28DF6-4E6C-4EF7-8F7C-018354822761}" type="sibTrans" cxnId="{8FB6366F-2798-4B70-BF6E-8FD75703A694}">
      <dgm:prSet/>
      <dgm:spPr/>
      <dgm:t>
        <a:bodyPr/>
        <a:lstStyle/>
        <a:p>
          <a:endParaRPr lang="en-IN"/>
        </a:p>
      </dgm:t>
    </dgm:pt>
    <dgm:pt modelId="{358A3B0B-DAC8-402E-886A-0B9A5BCDB9AA}">
      <dgm:prSet phldrT="[Text]"/>
      <dgm:spPr/>
      <dgm:t>
        <a:bodyPr/>
        <a:lstStyle/>
        <a:p>
          <a:r>
            <a:rPr lang="en-IN" dirty="0"/>
            <a:t>Design</a:t>
          </a:r>
        </a:p>
      </dgm:t>
    </dgm:pt>
    <dgm:pt modelId="{CF426ADF-9E4B-4A74-99AD-86BE3DF2D6FB}" type="parTrans" cxnId="{0E836804-2580-4FD1-A325-8C3BDCF38BF4}">
      <dgm:prSet/>
      <dgm:spPr/>
      <dgm:t>
        <a:bodyPr/>
        <a:lstStyle/>
        <a:p>
          <a:endParaRPr lang="en-IN"/>
        </a:p>
      </dgm:t>
    </dgm:pt>
    <dgm:pt modelId="{02B594C4-435F-4BF5-B2C2-7DFE7702FC64}" type="sibTrans" cxnId="{0E836804-2580-4FD1-A325-8C3BDCF38BF4}">
      <dgm:prSet/>
      <dgm:spPr/>
      <dgm:t>
        <a:bodyPr/>
        <a:lstStyle/>
        <a:p>
          <a:endParaRPr lang="en-IN"/>
        </a:p>
      </dgm:t>
    </dgm:pt>
    <dgm:pt modelId="{C3E8CBB7-B517-4F50-929D-72F3E3668D2C}" type="pres">
      <dgm:prSet presAssocID="{C2725E66-594E-4045-8581-BC78A9A9C5BA}" presName="rootnode" presStyleCnt="0">
        <dgm:presLayoutVars>
          <dgm:chMax/>
          <dgm:chPref/>
          <dgm:dir/>
          <dgm:animLvl val="lvl"/>
        </dgm:presLayoutVars>
      </dgm:prSet>
      <dgm:spPr/>
    </dgm:pt>
    <dgm:pt modelId="{B3FB9624-E9E6-4A91-A29C-4E48593B52B9}" type="pres">
      <dgm:prSet presAssocID="{D46EEB14-4237-4CD7-BBBD-B496DCC68570}" presName="composite" presStyleCnt="0"/>
      <dgm:spPr/>
    </dgm:pt>
    <dgm:pt modelId="{1378019F-E72C-4D1C-B9F6-BA6E0163F488}" type="pres">
      <dgm:prSet presAssocID="{D46EEB14-4237-4CD7-BBBD-B496DCC68570}" presName="bentUpArrow1" presStyleLbl="alignImgPlace1" presStyleIdx="0" presStyleCnt="5"/>
      <dgm:spPr/>
    </dgm:pt>
    <dgm:pt modelId="{3393C30B-1EBD-4F54-8460-2E4293D035E6}" type="pres">
      <dgm:prSet presAssocID="{D46EEB14-4237-4CD7-BBBD-B496DCC68570}" presName="ParentText" presStyleLbl="node1" presStyleIdx="0" presStyleCnt="6">
        <dgm:presLayoutVars>
          <dgm:chMax val="1"/>
          <dgm:chPref val="1"/>
          <dgm:bulletEnabled val="1"/>
        </dgm:presLayoutVars>
      </dgm:prSet>
      <dgm:spPr/>
    </dgm:pt>
    <dgm:pt modelId="{B3AF3953-D656-47D9-8097-F46D80626CCF}" type="pres">
      <dgm:prSet presAssocID="{D46EEB14-4237-4CD7-BBBD-B496DCC68570}" presName="ChildText" presStyleLbl="revTx" presStyleIdx="0" presStyleCnt="5">
        <dgm:presLayoutVars>
          <dgm:chMax val="0"/>
          <dgm:chPref val="0"/>
          <dgm:bulletEnabled val="1"/>
        </dgm:presLayoutVars>
      </dgm:prSet>
      <dgm:spPr/>
    </dgm:pt>
    <dgm:pt modelId="{BB1173D0-4459-4BAD-AADE-562ECB1CA57B}" type="pres">
      <dgm:prSet presAssocID="{4DD9713C-5CE9-43A8-A533-A6686BE0CF20}" presName="sibTrans" presStyleCnt="0"/>
      <dgm:spPr/>
    </dgm:pt>
    <dgm:pt modelId="{DD6C09A0-0D97-481F-8EA9-EEDB616F7CC1}" type="pres">
      <dgm:prSet presAssocID="{26E7118B-698E-46B0-9A7F-D904AF686F33}" presName="composite" presStyleCnt="0"/>
      <dgm:spPr/>
    </dgm:pt>
    <dgm:pt modelId="{5233D505-DFC9-4D9F-B2C4-F33B0EF74CEA}" type="pres">
      <dgm:prSet presAssocID="{26E7118B-698E-46B0-9A7F-D904AF686F33}" presName="bentUpArrow1" presStyleLbl="alignImgPlace1" presStyleIdx="1" presStyleCnt="5"/>
      <dgm:spPr/>
    </dgm:pt>
    <dgm:pt modelId="{AE0C55F3-3608-4512-B9DF-D404EA9BFE9C}" type="pres">
      <dgm:prSet presAssocID="{26E7118B-698E-46B0-9A7F-D904AF686F33}" presName="ParentText" presStyleLbl="node1" presStyleIdx="1" presStyleCnt="6">
        <dgm:presLayoutVars>
          <dgm:chMax val="1"/>
          <dgm:chPref val="1"/>
          <dgm:bulletEnabled val="1"/>
        </dgm:presLayoutVars>
      </dgm:prSet>
      <dgm:spPr/>
    </dgm:pt>
    <dgm:pt modelId="{77EEE251-C717-4C0E-93CA-F573EA57AE8A}" type="pres">
      <dgm:prSet presAssocID="{26E7118B-698E-46B0-9A7F-D904AF686F33}" presName="ChildText" presStyleLbl="revTx" presStyleIdx="1" presStyleCnt="5">
        <dgm:presLayoutVars>
          <dgm:chMax val="0"/>
          <dgm:chPref val="0"/>
          <dgm:bulletEnabled val="1"/>
        </dgm:presLayoutVars>
      </dgm:prSet>
      <dgm:spPr/>
    </dgm:pt>
    <dgm:pt modelId="{E5D27A98-9B88-421A-AE0A-822D42D648AC}" type="pres">
      <dgm:prSet presAssocID="{A62C391F-B74E-4ECB-A3A6-CB28D386E8DB}" presName="sibTrans" presStyleCnt="0"/>
      <dgm:spPr/>
    </dgm:pt>
    <dgm:pt modelId="{B0D97A71-42CC-4F1F-84D4-D7D31CD9CC23}" type="pres">
      <dgm:prSet presAssocID="{358A3B0B-DAC8-402E-886A-0B9A5BCDB9AA}" presName="composite" presStyleCnt="0"/>
      <dgm:spPr/>
    </dgm:pt>
    <dgm:pt modelId="{A70C49AA-C3FE-4D16-9155-BE20A3BF846E}" type="pres">
      <dgm:prSet presAssocID="{358A3B0B-DAC8-402E-886A-0B9A5BCDB9AA}" presName="bentUpArrow1" presStyleLbl="alignImgPlace1" presStyleIdx="2" presStyleCnt="5"/>
      <dgm:spPr/>
    </dgm:pt>
    <dgm:pt modelId="{4C31BD45-936A-4A35-BD72-D9F6E42A5294}" type="pres">
      <dgm:prSet presAssocID="{358A3B0B-DAC8-402E-886A-0B9A5BCDB9AA}" presName="ParentText" presStyleLbl="node1" presStyleIdx="2" presStyleCnt="6">
        <dgm:presLayoutVars>
          <dgm:chMax val="1"/>
          <dgm:chPref val="1"/>
          <dgm:bulletEnabled val="1"/>
        </dgm:presLayoutVars>
      </dgm:prSet>
      <dgm:spPr/>
    </dgm:pt>
    <dgm:pt modelId="{60FC0D0E-B86F-411E-9EE7-DA8F4CB16E2A}" type="pres">
      <dgm:prSet presAssocID="{358A3B0B-DAC8-402E-886A-0B9A5BCDB9AA}" presName="ChildText" presStyleLbl="revTx" presStyleIdx="2" presStyleCnt="5">
        <dgm:presLayoutVars>
          <dgm:chMax val="0"/>
          <dgm:chPref val="0"/>
          <dgm:bulletEnabled val="1"/>
        </dgm:presLayoutVars>
      </dgm:prSet>
      <dgm:spPr/>
    </dgm:pt>
    <dgm:pt modelId="{A5974BB7-F1BE-49A9-9CA7-DA9B3A30EFCD}" type="pres">
      <dgm:prSet presAssocID="{02B594C4-435F-4BF5-B2C2-7DFE7702FC64}" presName="sibTrans" presStyleCnt="0"/>
      <dgm:spPr/>
    </dgm:pt>
    <dgm:pt modelId="{C728AE73-7B9F-4C94-9C7B-B4244596CCA4}" type="pres">
      <dgm:prSet presAssocID="{8998B441-B5A1-413A-994F-405455BFE282}" presName="composite" presStyleCnt="0"/>
      <dgm:spPr/>
    </dgm:pt>
    <dgm:pt modelId="{A3C23961-C2AC-43F1-85DD-D091D241E25A}" type="pres">
      <dgm:prSet presAssocID="{8998B441-B5A1-413A-994F-405455BFE282}" presName="bentUpArrow1" presStyleLbl="alignImgPlace1" presStyleIdx="3" presStyleCnt="5"/>
      <dgm:spPr/>
    </dgm:pt>
    <dgm:pt modelId="{41BCDE98-8E19-4F33-ABDF-20CBA75843B1}" type="pres">
      <dgm:prSet presAssocID="{8998B441-B5A1-413A-994F-405455BFE282}" presName="ParentText" presStyleLbl="node1" presStyleIdx="3" presStyleCnt="6">
        <dgm:presLayoutVars>
          <dgm:chMax val="1"/>
          <dgm:chPref val="1"/>
          <dgm:bulletEnabled val="1"/>
        </dgm:presLayoutVars>
      </dgm:prSet>
      <dgm:spPr/>
    </dgm:pt>
    <dgm:pt modelId="{12C31E9C-897B-41BA-8D44-B35754295145}" type="pres">
      <dgm:prSet presAssocID="{8998B441-B5A1-413A-994F-405455BFE282}" presName="ChildText" presStyleLbl="revTx" presStyleIdx="3" presStyleCnt="5">
        <dgm:presLayoutVars>
          <dgm:chMax val="0"/>
          <dgm:chPref val="0"/>
          <dgm:bulletEnabled val="1"/>
        </dgm:presLayoutVars>
      </dgm:prSet>
      <dgm:spPr/>
    </dgm:pt>
    <dgm:pt modelId="{40B3D8CB-9108-47DA-8D16-2C29E9068C5C}" type="pres">
      <dgm:prSet presAssocID="{7BE662D7-8A18-4FB0-B5DC-D63129A1039C}" presName="sibTrans" presStyleCnt="0"/>
      <dgm:spPr/>
    </dgm:pt>
    <dgm:pt modelId="{97AB9B71-55E0-4CEB-B621-A8132A123349}" type="pres">
      <dgm:prSet presAssocID="{42B661FA-5B6A-4ED8-85B2-0D12891A84B6}" presName="composite" presStyleCnt="0"/>
      <dgm:spPr/>
    </dgm:pt>
    <dgm:pt modelId="{624F2B9B-C063-4D53-8509-1AA041F49624}" type="pres">
      <dgm:prSet presAssocID="{42B661FA-5B6A-4ED8-85B2-0D12891A84B6}" presName="bentUpArrow1" presStyleLbl="alignImgPlace1" presStyleIdx="4" presStyleCnt="5"/>
      <dgm:spPr/>
    </dgm:pt>
    <dgm:pt modelId="{E44409DA-F6C8-4FF5-A7FE-2573D713A7D0}" type="pres">
      <dgm:prSet presAssocID="{42B661FA-5B6A-4ED8-85B2-0D12891A84B6}" presName="ParentText" presStyleLbl="node1" presStyleIdx="4" presStyleCnt="6">
        <dgm:presLayoutVars>
          <dgm:chMax val="1"/>
          <dgm:chPref val="1"/>
          <dgm:bulletEnabled val="1"/>
        </dgm:presLayoutVars>
      </dgm:prSet>
      <dgm:spPr/>
    </dgm:pt>
    <dgm:pt modelId="{81914A5E-2085-4090-B6D2-C4596A60ED03}" type="pres">
      <dgm:prSet presAssocID="{42B661FA-5B6A-4ED8-85B2-0D12891A84B6}" presName="ChildText" presStyleLbl="revTx" presStyleIdx="4" presStyleCnt="5">
        <dgm:presLayoutVars>
          <dgm:chMax val="0"/>
          <dgm:chPref val="0"/>
          <dgm:bulletEnabled val="1"/>
        </dgm:presLayoutVars>
      </dgm:prSet>
      <dgm:spPr/>
    </dgm:pt>
    <dgm:pt modelId="{6B4EF77E-A5C4-471F-9511-761D6F205E50}" type="pres">
      <dgm:prSet presAssocID="{D9192F41-4F94-4DC9-8CEF-AABA0AEA30FE}" presName="sibTrans" presStyleCnt="0"/>
      <dgm:spPr/>
    </dgm:pt>
    <dgm:pt modelId="{494095A5-9734-4E2E-8BB4-6DD570C3675E}" type="pres">
      <dgm:prSet presAssocID="{2C88CBF4-6081-463F-9199-41C61DE65432}" presName="composite" presStyleCnt="0"/>
      <dgm:spPr/>
    </dgm:pt>
    <dgm:pt modelId="{71964A2E-616E-4C88-94DA-3E1E9CE3E7C1}" type="pres">
      <dgm:prSet presAssocID="{2C88CBF4-6081-463F-9199-41C61DE65432}" presName="ParentText" presStyleLbl="node1" presStyleIdx="5" presStyleCnt="6">
        <dgm:presLayoutVars>
          <dgm:chMax val="1"/>
          <dgm:chPref val="1"/>
          <dgm:bulletEnabled val="1"/>
        </dgm:presLayoutVars>
      </dgm:prSet>
      <dgm:spPr/>
    </dgm:pt>
  </dgm:ptLst>
  <dgm:cxnLst>
    <dgm:cxn modelId="{7CA30904-9AC8-489C-A734-A15B0399072F}" type="presOf" srcId="{42B661FA-5B6A-4ED8-85B2-0D12891A84B6}" destId="{E44409DA-F6C8-4FF5-A7FE-2573D713A7D0}" srcOrd="0" destOrd="0" presId="urn:microsoft.com/office/officeart/2005/8/layout/StepDownProcess"/>
    <dgm:cxn modelId="{0E836804-2580-4FD1-A325-8C3BDCF38BF4}" srcId="{C2725E66-594E-4045-8581-BC78A9A9C5BA}" destId="{358A3B0B-DAC8-402E-886A-0B9A5BCDB9AA}" srcOrd="2" destOrd="0" parTransId="{CF426ADF-9E4B-4A74-99AD-86BE3DF2D6FB}" sibTransId="{02B594C4-435F-4BF5-B2C2-7DFE7702FC64}"/>
    <dgm:cxn modelId="{4C53780D-2AA4-4597-8C7C-9AA93D33B144}" type="presOf" srcId="{D46EEB14-4237-4CD7-BBBD-B496DCC68570}" destId="{3393C30B-1EBD-4F54-8460-2E4293D035E6}" srcOrd="0" destOrd="0" presId="urn:microsoft.com/office/officeart/2005/8/layout/StepDownProcess"/>
    <dgm:cxn modelId="{8FB6366F-2798-4B70-BF6E-8FD75703A694}" srcId="{C2725E66-594E-4045-8581-BC78A9A9C5BA}" destId="{2C88CBF4-6081-463F-9199-41C61DE65432}" srcOrd="5" destOrd="0" parTransId="{61930E8E-084A-40D2-BA26-267F7A428242}" sibTransId="{D8D28DF6-4E6C-4EF7-8F7C-018354822761}"/>
    <dgm:cxn modelId="{C5AF3952-C0EF-4E78-9DD8-FD986240AB68}" type="presOf" srcId="{8998B441-B5A1-413A-994F-405455BFE282}" destId="{41BCDE98-8E19-4F33-ABDF-20CBA75843B1}" srcOrd="0" destOrd="0" presId="urn:microsoft.com/office/officeart/2005/8/layout/StepDownProcess"/>
    <dgm:cxn modelId="{AA81C253-B8EA-483B-882B-8A430ABC202A}" type="presOf" srcId="{358A3B0B-DAC8-402E-886A-0B9A5BCDB9AA}" destId="{4C31BD45-936A-4A35-BD72-D9F6E42A5294}" srcOrd="0" destOrd="0" presId="urn:microsoft.com/office/officeart/2005/8/layout/StepDownProcess"/>
    <dgm:cxn modelId="{5A5D5A89-EEAB-4E79-B274-B66FBB03988E}" srcId="{C2725E66-594E-4045-8581-BC78A9A9C5BA}" destId="{26E7118B-698E-46B0-9A7F-D904AF686F33}" srcOrd="1" destOrd="0" parTransId="{4E0273DD-F40A-482A-A425-0CDDBB4B89D2}" sibTransId="{A62C391F-B74E-4ECB-A3A6-CB28D386E8DB}"/>
    <dgm:cxn modelId="{C83333BF-F108-4B77-A8E5-6C38515F2456}" type="presOf" srcId="{26E7118B-698E-46B0-9A7F-D904AF686F33}" destId="{AE0C55F3-3608-4512-B9DF-D404EA9BFE9C}" srcOrd="0" destOrd="0" presId="urn:microsoft.com/office/officeart/2005/8/layout/StepDownProcess"/>
    <dgm:cxn modelId="{90F74BC2-02B7-4AC6-BFC3-8A751CDA1730}" srcId="{C2725E66-594E-4045-8581-BC78A9A9C5BA}" destId="{8998B441-B5A1-413A-994F-405455BFE282}" srcOrd="3" destOrd="0" parTransId="{966A02D8-3E97-4EED-B601-E6F3E7053D2F}" sibTransId="{7BE662D7-8A18-4FB0-B5DC-D63129A1039C}"/>
    <dgm:cxn modelId="{D0F52EE7-BCFD-4DF0-90EF-1BCA7B256AAE}" type="presOf" srcId="{C2725E66-594E-4045-8581-BC78A9A9C5BA}" destId="{C3E8CBB7-B517-4F50-929D-72F3E3668D2C}" srcOrd="0" destOrd="0" presId="urn:microsoft.com/office/officeart/2005/8/layout/StepDownProcess"/>
    <dgm:cxn modelId="{685453EE-1410-4995-A753-45AB9C411F19}" type="presOf" srcId="{2C88CBF4-6081-463F-9199-41C61DE65432}" destId="{71964A2E-616E-4C88-94DA-3E1E9CE3E7C1}" srcOrd="0" destOrd="0" presId="urn:microsoft.com/office/officeart/2005/8/layout/StepDownProcess"/>
    <dgm:cxn modelId="{F7706FF0-00BF-4611-A97A-C14C98E635F1}" srcId="{C2725E66-594E-4045-8581-BC78A9A9C5BA}" destId="{D46EEB14-4237-4CD7-BBBD-B496DCC68570}" srcOrd="0" destOrd="0" parTransId="{3AC3034E-36DA-47EA-AAAC-B3242902E5BC}" sibTransId="{4DD9713C-5CE9-43A8-A533-A6686BE0CF20}"/>
    <dgm:cxn modelId="{BD5A1FF7-B84E-46C2-B777-E30007110226}" srcId="{C2725E66-594E-4045-8581-BC78A9A9C5BA}" destId="{42B661FA-5B6A-4ED8-85B2-0D12891A84B6}" srcOrd="4" destOrd="0" parTransId="{72444EAC-E852-4229-9787-BD98F48AA646}" sibTransId="{D9192F41-4F94-4DC9-8CEF-AABA0AEA30FE}"/>
    <dgm:cxn modelId="{14E45CF7-A257-4B66-9D71-BD597B0E5C9C}" type="presParOf" srcId="{C3E8CBB7-B517-4F50-929D-72F3E3668D2C}" destId="{B3FB9624-E9E6-4A91-A29C-4E48593B52B9}" srcOrd="0" destOrd="0" presId="urn:microsoft.com/office/officeart/2005/8/layout/StepDownProcess"/>
    <dgm:cxn modelId="{63071C0F-9243-4C3B-8399-92947E712FFA}" type="presParOf" srcId="{B3FB9624-E9E6-4A91-A29C-4E48593B52B9}" destId="{1378019F-E72C-4D1C-B9F6-BA6E0163F488}" srcOrd="0" destOrd="0" presId="urn:microsoft.com/office/officeart/2005/8/layout/StepDownProcess"/>
    <dgm:cxn modelId="{7A59D772-D1FC-4CBE-B529-938DC68394F9}" type="presParOf" srcId="{B3FB9624-E9E6-4A91-A29C-4E48593B52B9}" destId="{3393C30B-1EBD-4F54-8460-2E4293D035E6}" srcOrd="1" destOrd="0" presId="urn:microsoft.com/office/officeart/2005/8/layout/StepDownProcess"/>
    <dgm:cxn modelId="{6BD5CB7B-7EB5-4AA4-9D05-68369A48B82D}" type="presParOf" srcId="{B3FB9624-E9E6-4A91-A29C-4E48593B52B9}" destId="{B3AF3953-D656-47D9-8097-F46D80626CCF}" srcOrd="2" destOrd="0" presId="urn:microsoft.com/office/officeart/2005/8/layout/StepDownProcess"/>
    <dgm:cxn modelId="{C79FCFE5-6FCC-4E16-A132-2B3AD7CCD5FB}" type="presParOf" srcId="{C3E8CBB7-B517-4F50-929D-72F3E3668D2C}" destId="{BB1173D0-4459-4BAD-AADE-562ECB1CA57B}" srcOrd="1" destOrd="0" presId="urn:microsoft.com/office/officeart/2005/8/layout/StepDownProcess"/>
    <dgm:cxn modelId="{2501EF42-8AE9-42A5-9874-6BD15E6B7B15}" type="presParOf" srcId="{C3E8CBB7-B517-4F50-929D-72F3E3668D2C}" destId="{DD6C09A0-0D97-481F-8EA9-EEDB616F7CC1}" srcOrd="2" destOrd="0" presId="urn:microsoft.com/office/officeart/2005/8/layout/StepDownProcess"/>
    <dgm:cxn modelId="{2442E8CC-C225-4A08-80C2-B7B65A8D9452}" type="presParOf" srcId="{DD6C09A0-0D97-481F-8EA9-EEDB616F7CC1}" destId="{5233D505-DFC9-4D9F-B2C4-F33B0EF74CEA}" srcOrd="0" destOrd="0" presId="urn:microsoft.com/office/officeart/2005/8/layout/StepDownProcess"/>
    <dgm:cxn modelId="{0BD2BB0B-AD6E-4269-8BFF-3D80C6A210BE}" type="presParOf" srcId="{DD6C09A0-0D97-481F-8EA9-EEDB616F7CC1}" destId="{AE0C55F3-3608-4512-B9DF-D404EA9BFE9C}" srcOrd="1" destOrd="0" presId="urn:microsoft.com/office/officeart/2005/8/layout/StepDownProcess"/>
    <dgm:cxn modelId="{4304B0D1-EA1D-4DB3-BB62-59793323B12E}" type="presParOf" srcId="{DD6C09A0-0D97-481F-8EA9-EEDB616F7CC1}" destId="{77EEE251-C717-4C0E-93CA-F573EA57AE8A}" srcOrd="2" destOrd="0" presId="urn:microsoft.com/office/officeart/2005/8/layout/StepDownProcess"/>
    <dgm:cxn modelId="{9CF5A0BA-B59F-466E-9053-857CE92A8B2A}" type="presParOf" srcId="{C3E8CBB7-B517-4F50-929D-72F3E3668D2C}" destId="{E5D27A98-9B88-421A-AE0A-822D42D648AC}" srcOrd="3" destOrd="0" presId="urn:microsoft.com/office/officeart/2005/8/layout/StepDownProcess"/>
    <dgm:cxn modelId="{39F0220B-11F1-4CC8-AD56-E4B3FA0181B1}" type="presParOf" srcId="{C3E8CBB7-B517-4F50-929D-72F3E3668D2C}" destId="{B0D97A71-42CC-4F1F-84D4-D7D31CD9CC23}" srcOrd="4" destOrd="0" presId="urn:microsoft.com/office/officeart/2005/8/layout/StepDownProcess"/>
    <dgm:cxn modelId="{8CE801CF-19D1-4BEB-8174-5D53CCA08E44}" type="presParOf" srcId="{B0D97A71-42CC-4F1F-84D4-D7D31CD9CC23}" destId="{A70C49AA-C3FE-4D16-9155-BE20A3BF846E}" srcOrd="0" destOrd="0" presId="urn:microsoft.com/office/officeart/2005/8/layout/StepDownProcess"/>
    <dgm:cxn modelId="{00EAA33A-F17F-4825-9689-4479D3DF8ABC}" type="presParOf" srcId="{B0D97A71-42CC-4F1F-84D4-D7D31CD9CC23}" destId="{4C31BD45-936A-4A35-BD72-D9F6E42A5294}" srcOrd="1" destOrd="0" presId="urn:microsoft.com/office/officeart/2005/8/layout/StepDownProcess"/>
    <dgm:cxn modelId="{77E2DC20-A8E6-43CA-AE28-9F80DADD4831}" type="presParOf" srcId="{B0D97A71-42CC-4F1F-84D4-D7D31CD9CC23}" destId="{60FC0D0E-B86F-411E-9EE7-DA8F4CB16E2A}" srcOrd="2" destOrd="0" presId="urn:microsoft.com/office/officeart/2005/8/layout/StepDownProcess"/>
    <dgm:cxn modelId="{214782C4-D3B8-45D1-BC36-F3624443C5E4}" type="presParOf" srcId="{C3E8CBB7-B517-4F50-929D-72F3E3668D2C}" destId="{A5974BB7-F1BE-49A9-9CA7-DA9B3A30EFCD}" srcOrd="5" destOrd="0" presId="urn:microsoft.com/office/officeart/2005/8/layout/StepDownProcess"/>
    <dgm:cxn modelId="{612CB3A3-7EAC-457E-B944-025B9B8759B3}" type="presParOf" srcId="{C3E8CBB7-B517-4F50-929D-72F3E3668D2C}" destId="{C728AE73-7B9F-4C94-9C7B-B4244596CCA4}" srcOrd="6" destOrd="0" presId="urn:microsoft.com/office/officeart/2005/8/layout/StepDownProcess"/>
    <dgm:cxn modelId="{C8D82FCD-7E3D-40E9-B14E-40E50588E952}" type="presParOf" srcId="{C728AE73-7B9F-4C94-9C7B-B4244596CCA4}" destId="{A3C23961-C2AC-43F1-85DD-D091D241E25A}" srcOrd="0" destOrd="0" presId="urn:microsoft.com/office/officeart/2005/8/layout/StepDownProcess"/>
    <dgm:cxn modelId="{C185CA6D-DEA2-42C2-A390-BE93AAB2476E}" type="presParOf" srcId="{C728AE73-7B9F-4C94-9C7B-B4244596CCA4}" destId="{41BCDE98-8E19-4F33-ABDF-20CBA75843B1}" srcOrd="1" destOrd="0" presId="urn:microsoft.com/office/officeart/2005/8/layout/StepDownProcess"/>
    <dgm:cxn modelId="{F61AF7E6-DFEA-4704-93D7-F20656AAE3A1}" type="presParOf" srcId="{C728AE73-7B9F-4C94-9C7B-B4244596CCA4}" destId="{12C31E9C-897B-41BA-8D44-B35754295145}" srcOrd="2" destOrd="0" presId="urn:microsoft.com/office/officeart/2005/8/layout/StepDownProcess"/>
    <dgm:cxn modelId="{278581CF-1342-4F59-9A96-DA0E75A838D0}" type="presParOf" srcId="{C3E8CBB7-B517-4F50-929D-72F3E3668D2C}" destId="{40B3D8CB-9108-47DA-8D16-2C29E9068C5C}" srcOrd="7" destOrd="0" presId="urn:microsoft.com/office/officeart/2005/8/layout/StepDownProcess"/>
    <dgm:cxn modelId="{10624AA5-52BA-4AF6-9633-4542FC2CE4D9}" type="presParOf" srcId="{C3E8CBB7-B517-4F50-929D-72F3E3668D2C}" destId="{97AB9B71-55E0-4CEB-B621-A8132A123349}" srcOrd="8" destOrd="0" presId="urn:microsoft.com/office/officeart/2005/8/layout/StepDownProcess"/>
    <dgm:cxn modelId="{B4E18C54-0F70-49DD-9D6F-EBCCCC9C22BB}" type="presParOf" srcId="{97AB9B71-55E0-4CEB-B621-A8132A123349}" destId="{624F2B9B-C063-4D53-8509-1AA041F49624}" srcOrd="0" destOrd="0" presId="urn:microsoft.com/office/officeart/2005/8/layout/StepDownProcess"/>
    <dgm:cxn modelId="{275E7656-42BB-4810-B246-61BF7D5D2C92}" type="presParOf" srcId="{97AB9B71-55E0-4CEB-B621-A8132A123349}" destId="{E44409DA-F6C8-4FF5-A7FE-2573D713A7D0}" srcOrd="1" destOrd="0" presId="urn:microsoft.com/office/officeart/2005/8/layout/StepDownProcess"/>
    <dgm:cxn modelId="{E38E5E8D-DB5A-46B4-8346-684E69FA2EEA}" type="presParOf" srcId="{97AB9B71-55E0-4CEB-B621-A8132A123349}" destId="{81914A5E-2085-4090-B6D2-C4596A60ED03}" srcOrd="2" destOrd="0" presId="urn:microsoft.com/office/officeart/2005/8/layout/StepDownProcess"/>
    <dgm:cxn modelId="{9DDDDE60-0FFB-4E20-BEF0-0F856CF62FC2}" type="presParOf" srcId="{C3E8CBB7-B517-4F50-929D-72F3E3668D2C}" destId="{6B4EF77E-A5C4-471F-9511-761D6F205E50}" srcOrd="9" destOrd="0" presId="urn:microsoft.com/office/officeart/2005/8/layout/StepDownProcess"/>
    <dgm:cxn modelId="{4D38C39C-B184-4437-AB0D-E17C05CE585C}" type="presParOf" srcId="{C3E8CBB7-B517-4F50-929D-72F3E3668D2C}" destId="{494095A5-9734-4E2E-8BB4-6DD570C3675E}" srcOrd="10" destOrd="0" presId="urn:microsoft.com/office/officeart/2005/8/layout/StepDownProcess"/>
    <dgm:cxn modelId="{2ACB09F7-0B95-4684-8C5E-F55AD4724EF6}" type="presParOf" srcId="{494095A5-9734-4E2E-8BB4-6DD570C3675E}" destId="{71964A2E-616E-4C88-94DA-3E1E9CE3E7C1}" srcOrd="0" destOrd="0" presId="urn:microsoft.com/office/officeart/2005/8/layout/StepDownProcess"/>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6D91852E-383B-4896-9C23-D9C901179F69}" type="doc">
      <dgm:prSet loTypeId="urn:microsoft.com/office/officeart/2011/layout/TabList" loCatId="list" qsTypeId="urn:microsoft.com/office/officeart/2005/8/quickstyle/simple1" qsCatId="simple" csTypeId="urn:microsoft.com/office/officeart/2005/8/colors/accent2_2" csCatId="accent2" phldr="1"/>
      <dgm:spPr/>
      <dgm:t>
        <a:bodyPr/>
        <a:lstStyle/>
        <a:p>
          <a:endParaRPr lang="en-IN"/>
        </a:p>
      </dgm:t>
    </dgm:pt>
    <dgm:pt modelId="{BA02106F-8D3E-4F69-9F94-E3D76A797A35}">
      <dgm:prSet phldrT="[Text]"/>
      <dgm:spPr/>
      <dgm:t>
        <a:bodyPr/>
        <a:lstStyle/>
        <a:p>
          <a:r>
            <a:rPr lang="en-IN" dirty="0"/>
            <a:t>Container</a:t>
          </a:r>
          <a:r>
            <a:rPr lang="en-IN" baseline="0" dirty="0"/>
            <a:t> Image</a:t>
          </a:r>
          <a:endParaRPr lang="en-IN" dirty="0"/>
        </a:p>
      </dgm:t>
    </dgm:pt>
    <dgm:pt modelId="{26B54867-FBEC-4DDD-A1BF-7AB10B0415C2}" type="parTrans" cxnId="{500C9529-3147-4D5D-9558-7FAC68DCBCAA}">
      <dgm:prSet/>
      <dgm:spPr/>
      <dgm:t>
        <a:bodyPr/>
        <a:lstStyle/>
        <a:p>
          <a:endParaRPr lang="en-IN"/>
        </a:p>
      </dgm:t>
    </dgm:pt>
    <dgm:pt modelId="{D1E5EB83-8BC7-4DE8-9017-3E3BC6E6D471}" type="sibTrans" cxnId="{500C9529-3147-4D5D-9558-7FAC68DCBCAA}">
      <dgm:prSet/>
      <dgm:spPr/>
      <dgm:t>
        <a:bodyPr/>
        <a:lstStyle/>
        <a:p>
          <a:endParaRPr lang="en-IN"/>
        </a:p>
      </dgm:t>
    </dgm:pt>
    <dgm:pt modelId="{1EEF9715-AA49-4084-8EE5-A909BF2FC24C}">
      <dgm:prSet phldrT="[Text]"/>
      <dgm:spPr/>
      <dgm:t>
        <a:bodyPr/>
        <a:lstStyle/>
        <a:p>
          <a:r>
            <a:rPr lang="en-IN" dirty="0"/>
            <a:t>Containers</a:t>
          </a:r>
        </a:p>
      </dgm:t>
    </dgm:pt>
    <dgm:pt modelId="{555DCDA7-1F87-422E-87B5-9BEE8BB6BCFE}" type="parTrans" cxnId="{4088845E-285D-4468-BB5F-E048FE4B1D2B}">
      <dgm:prSet/>
      <dgm:spPr/>
      <dgm:t>
        <a:bodyPr/>
        <a:lstStyle/>
        <a:p>
          <a:endParaRPr lang="en-IN"/>
        </a:p>
      </dgm:t>
    </dgm:pt>
    <dgm:pt modelId="{35997440-BED9-40B0-8B34-B7E7B551A4E7}" type="sibTrans" cxnId="{4088845E-285D-4468-BB5F-E048FE4B1D2B}">
      <dgm:prSet/>
      <dgm:spPr/>
      <dgm:t>
        <a:bodyPr/>
        <a:lstStyle/>
        <a:p>
          <a:endParaRPr lang="en-IN"/>
        </a:p>
      </dgm:t>
    </dgm:pt>
    <dgm:pt modelId="{0937EB2D-ECB9-4369-AC3A-F6F1DBA57EBA}">
      <dgm:prSet phldrT="[Text]"/>
      <dgm:spPr/>
      <dgm:t>
        <a:bodyPr/>
        <a:lstStyle/>
        <a:p>
          <a:endParaRPr lang="en-IN" dirty="0"/>
        </a:p>
      </dgm:t>
    </dgm:pt>
    <dgm:pt modelId="{8D02F50E-2601-4425-8306-854FA2CFAFA0}" type="parTrans" cxnId="{4CCA8F2B-7DF0-46D5-A451-1F7CC6E24073}">
      <dgm:prSet/>
      <dgm:spPr/>
      <dgm:t>
        <a:bodyPr/>
        <a:lstStyle/>
        <a:p>
          <a:endParaRPr lang="en-IN"/>
        </a:p>
      </dgm:t>
    </dgm:pt>
    <dgm:pt modelId="{0B813464-D0A4-4C80-8F17-F434B2E607F5}" type="sibTrans" cxnId="{4CCA8F2B-7DF0-46D5-A451-1F7CC6E24073}">
      <dgm:prSet/>
      <dgm:spPr/>
      <dgm:t>
        <a:bodyPr/>
        <a:lstStyle/>
        <a:p>
          <a:endParaRPr lang="en-IN"/>
        </a:p>
      </dgm:t>
    </dgm:pt>
    <dgm:pt modelId="{73373CBA-AB8C-474F-8275-8BFBBA32DCDA}">
      <dgm:prSet phldrT="[Text]"/>
      <dgm:spPr/>
      <dgm:t>
        <a:bodyPr/>
        <a:lstStyle/>
        <a:p>
          <a:pPr>
            <a:buNone/>
          </a:pPr>
          <a:r>
            <a:rPr lang="en-IN" dirty="0">
              <a:solidFill>
                <a:schemeClr val="tx2"/>
              </a:solidFill>
            </a:rPr>
            <a:t>Containers are running instance of Container image. A process which runs when executing a container image. Multiple instance of process can be tarted from one container image</a:t>
          </a:r>
        </a:p>
      </dgm:t>
    </dgm:pt>
    <dgm:pt modelId="{8999A739-0370-452A-A800-B686E8B3C712}" type="parTrans" cxnId="{4B78C8B3-AA8F-4050-9C9D-526097FAB113}">
      <dgm:prSet/>
      <dgm:spPr/>
      <dgm:t>
        <a:bodyPr/>
        <a:lstStyle/>
        <a:p>
          <a:endParaRPr lang="en-IN"/>
        </a:p>
      </dgm:t>
    </dgm:pt>
    <dgm:pt modelId="{499F577B-E4F2-4E67-A1B6-5D1F13B755C0}" type="sibTrans" cxnId="{4B78C8B3-AA8F-4050-9C9D-526097FAB113}">
      <dgm:prSet/>
      <dgm:spPr/>
      <dgm:t>
        <a:bodyPr/>
        <a:lstStyle/>
        <a:p>
          <a:endParaRPr lang="en-IN"/>
        </a:p>
      </dgm:t>
    </dgm:pt>
    <dgm:pt modelId="{5CD346A4-DCBF-4EA1-B2B9-C8DEEB7729EE}">
      <dgm:prSet phldrT="[Text]"/>
      <dgm:spPr/>
      <dgm:t>
        <a:bodyPr/>
        <a:lstStyle/>
        <a:p>
          <a:r>
            <a:rPr lang="en-IN" dirty="0"/>
            <a:t>Container Runtime</a:t>
          </a:r>
        </a:p>
      </dgm:t>
    </dgm:pt>
    <dgm:pt modelId="{35FB2DAE-4FA0-4316-8942-223A841982B0}" type="parTrans" cxnId="{4DC2AD17-370F-41F8-A13B-572452FD5A7D}">
      <dgm:prSet/>
      <dgm:spPr/>
      <dgm:t>
        <a:bodyPr/>
        <a:lstStyle/>
        <a:p>
          <a:endParaRPr lang="en-IN"/>
        </a:p>
      </dgm:t>
    </dgm:pt>
    <dgm:pt modelId="{CAEBB828-684E-4E9E-98FB-9835E5DA6940}" type="sibTrans" cxnId="{4DC2AD17-370F-41F8-A13B-572452FD5A7D}">
      <dgm:prSet/>
      <dgm:spPr/>
      <dgm:t>
        <a:bodyPr/>
        <a:lstStyle/>
        <a:p>
          <a:endParaRPr lang="en-IN"/>
        </a:p>
      </dgm:t>
    </dgm:pt>
    <dgm:pt modelId="{F83395FF-14CC-4B55-8BEA-6961D58620BB}">
      <dgm:prSet phldrT="[Text]"/>
      <dgm:spPr/>
      <dgm:t>
        <a:bodyPr/>
        <a:lstStyle/>
        <a:p>
          <a:endParaRPr lang="en-IN" dirty="0"/>
        </a:p>
      </dgm:t>
    </dgm:pt>
    <dgm:pt modelId="{94DD9EA6-C2F1-4DBF-8705-5BBD0852C7C4}" type="parTrans" cxnId="{6AB091A5-F8E5-4A57-9132-33D76566A19B}">
      <dgm:prSet/>
      <dgm:spPr/>
      <dgm:t>
        <a:bodyPr/>
        <a:lstStyle/>
        <a:p>
          <a:endParaRPr lang="en-IN"/>
        </a:p>
      </dgm:t>
    </dgm:pt>
    <dgm:pt modelId="{46026156-C8F3-4A82-BAC6-F51B96AD38F3}" type="sibTrans" cxnId="{6AB091A5-F8E5-4A57-9132-33D76566A19B}">
      <dgm:prSet/>
      <dgm:spPr/>
      <dgm:t>
        <a:bodyPr/>
        <a:lstStyle/>
        <a:p>
          <a:endParaRPr lang="en-IN"/>
        </a:p>
      </dgm:t>
    </dgm:pt>
    <dgm:pt modelId="{A8F1A0D6-C92A-4B82-9C4F-D045218FE45B}">
      <dgm:prSet phldrT="[Text]"/>
      <dgm:spPr/>
      <dgm:t>
        <a:bodyPr/>
        <a:lstStyle/>
        <a:p>
          <a:pPr>
            <a:buFont typeface="Arial" panose="020B0604020202020204" pitchFamily="34" charset="0"/>
            <a:buNone/>
          </a:pPr>
          <a:r>
            <a:rPr lang="en-US" dirty="0">
              <a:solidFill>
                <a:schemeClr val="tx2"/>
              </a:solidFill>
            </a:rPr>
            <a:t>A </a:t>
          </a:r>
          <a:r>
            <a:rPr lang="en-US" b="1" dirty="0">
              <a:solidFill>
                <a:schemeClr val="tx2"/>
              </a:solidFill>
            </a:rPr>
            <a:t>container runtime</a:t>
          </a:r>
          <a:r>
            <a:rPr lang="en-US" dirty="0">
              <a:solidFill>
                <a:schemeClr val="tx2"/>
              </a:solidFill>
            </a:rPr>
            <a:t> is the software responsible which executes the container image and create containers It ensures the lifecycle of containers. There are different container runtimes. Ex. podman, docker engine containerd, CRI-O</a:t>
          </a:r>
          <a:endParaRPr lang="en-IN" dirty="0">
            <a:solidFill>
              <a:schemeClr val="tx2"/>
            </a:solidFill>
          </a:endParaRPr>
        </a:p>
      </dgm:t>
    </dgm:pt>
    <dgm:pt modelId="{34E7437B-92F8-4511-9E65-EBCD740550AF}" type="parTrans" cxnId="{9A1E0907-905D-4D37-8ED0-F7648D3DF675}">
      <dgm:prSet/>
      <dgm:spPr/>
      <dgm:t>
        <a:bodyPr/>
        <a:lstStyle/>
        <a:p>
          <a:endParaRPr lang="en-IN"/>
        </a:p>
      </dgm:t>
    </dgm:pt>
    <dgm:pt modelId="{4F5C9EFF-450E-475A-9B5D-4B1E59B171B8}" type="sibTrans" cxnId="{9A1E0907-905D-4D37-8ED0-F7648D3DF675}">
      <dgm:prSet/>
      <dgm:spPr/>
      <dgm:t>
        <a:bodyPr/>
        <a:lstStyle/>
        <a:p>
          <a:endParaRPr lang="en-IN"/>
        </a:p>
      </dgm:t>
    </dgm:pt>
    <dgm:pt modelId="{4DFEAC23-1A6C-46DB-BA0E-40B746C55F43}">
      <dgm:prSet phldrT="[Text]"/>
      <dgm:spPr/>
      <dgm:t>
        <a:bodyPr/>
        <a:lstStyle/>
        <a:p>
          <a:r>
            <a:rPr lang="en-IN" dirty="0"/>
            <a:t>Container Registry</a:t>
          </a:r>
        </a:p>
      </dgm:t>
    </dgm:pt>
    <dgm:pt modelId="{C0179E8A-A514-470D-895E-84A599546B0D}" type="parTrans" cxnId="{953516ED-8205-49C7-BBF3-38E509849AD0}">
      <dgm:prSet/>
      <dgm:spPr/>
      <dgm:t>
        <a:bodyPr/>
        <a:lstStyle/>
        <a:p>
          <a:endParaRPr lang="en-IN"/>
        </a:p>
      </dgm:t>
    </dgm:pt>
    <dgm:pt modelId="{A6EB2253-010C-4D36-8414-9B6C713BB2FD}" type="sibTrans" cxnId="{953516ED-8205-49C7-BBF3-38E509849AD0}">
      <dgm:prSet/>
      <dgm:spPr/>
      <dgm:t>
        <a:bodyPr/>
        <a:lstStyle/>
        <a:p>
          <a:endParaRPr lang="en-IN"/>
        </a:p>
      </dgm:t>
    </dgm:pt>
    <dgm:pt modelId="{EB9A41E1-2841-4E03-AD59-8F887F3990AD}">
      <dgm:prSet phldrT="[Text]"/>
      <dgm:spPr/>
      <dgm:t>
        <a:bodyPr/>
        <a:lstStyle/>
        <a:p>
          <a:r>
            <a:rPr lang="en-IN" dirty="0"/>
            <a:t>Container</a:t>
          </a:r>
          <a:r>
            <a:rPr lang="en-IN" baseline="0" dirty="0"/>
            <a:t> Tag</a:t>
          </a:r>
          <a:endParaRPr lang="en-IN" dirty="0"/>
        </a:p>
      </dgm:t>
    </dgm:pt>
    <dgm:pt modelId="{772FCA04-56DA-47FA-95C5-4ACD1CCA0856}" type="parTrans" cxnId="{EBC217FD-1724-4599-B6BC-AD4B605B5456}">
      <dgm:prSet/>
      <dgm:spPr/>
      <dgm:t>
        <a:bodyPr/>
        <a:lstStyle/>
        <a:p>
          <a:endParaRPr lang="en-IN"/>
        </a:p>
      </dgm:t>
    </dgm:pt>
    <dgm:pt modelId="{A4F74022-35B3-43D6-AD90-BB0C369DEDB7}" type="sibTrans" cxnId="{EBC217FD-1724-4599-B6BC-AD4B605B5456}">
      <dgm:prSet/>
      <dgm:spPr/>
      <dgm:t>
        <a:bodyPr/>
        <a:lstStyle/>
        <a:p>
          <a:endParaRPr lang="en-IN"/>
        </a:p>
      </dgm:t>
    </dgm:pt>
    <dgm:pt modelId="{AF242455-2542-4E63-AB4E-75B55039152A}">
      <dgm:prSet phldrT="[Text]"/>
      <dgm:spPr/>
      <dgm:t>
        <a:bodyPr/>
        <a:lstStyle/>
        <a:p>
          <a:pPr>
            <a:buFontTx/>
            <a:buNone/>
          </a:pPr>
          <a:r>
            <a:rPr lang="en-US" dirty="0">
              <a:solidFill>
                <a:schemeClr val="tx2"/>
              </a:solidFill>
            </a:rPr>
            <a:t>A container image is a executable package that contains everything needed to run an application consistently across different environments. It is a software package.</a:t>
          </a:r>
          <a:endParaRPr lang="en-IN" dirty="0">
            <a:solidFill>
              <a:schemeClr val="tx2"/>
            </a:solidFill>
          </a:endParaRPr>
        </a:p>
      </dgm:t>
    </dgm:pt>
    <dgm:pt modelId="{7E17D2E3-16CB-4608-9022-B5C56836BEC1}" type="parTrans" cxnId="{8F253C51-49B1-47F0-B30A-53FE8835A93F}">
      <dgm:prSet/>
      <dgm:spPr/>
      <dgm:t>
        <a:bodyPr/>
        <a:lstStyle/>
        <a:p>
          <a:endParaRPr lang="en-IN"/>
        </a:p>
      </dgm:t>
    </dgm:pt>
    <dgm:pt modelId="{BE5CB55F-1BE2-4DF5-86C1-3FE51086B39F}" type="sibTrans" cxnId="{8F253C51-49B1-47F0-B30A-53FE8835A93F}">
      <dgm:prSet/>
      <dgm:spPr/>
      <dgm:t>
        <a:bodyPr/>
        <a:lstStyle/>
        <a:p>
          <a:endParaRPr lang="en-IN"/>
        </a:p>
      </dgm:t>
    </dgm:pt>
    <dgm:pt modelId="{D5C03E19-C88F-491B-9BA3-EB242D84EABD}">
      <dgm:prSet phldrT="[Text]"/>
      <dgm:spPr/>
      <dgm:t>
        <a:bodyPr/>
        <a:lstStyle/>
        <a:p>
          <a:endParaRPr lang="en-IN" dirty="0"/>
        </a:p>
      </dgm:t>
    </dgm:pt>
    <dgm:pt modelId="{A929E578-0EA6-4792-B301-FFA872EE18A8}" type="parTrans" cxnId="{CF452BB3-7CA9-46A1-9C07-807C35B6A056}">
      <dgm:prSet/>
      <dgm:spPr/>
      <dgm:t>
        <a:bodyPr/>
        <a:lstStyle/>
        <a:p>
          <a:endParaRPr lang="en-IN"/>
        </a:p>
      </dgm:t>
    </dgm:pt>
    <dgm:pt modelId="{898B8B0A-83FA-4015-A132-725384AE5EB3}" type="sibTrans" cxnId="{CF452BB3-7CA9-46A1-9C07-807C35B6A056}">
      <dgm:prSet/>
      <dgm:spPr/>
      <dgm:t>
        <a:bodyPr/>
        <a:lstStyle/>
        <a:p>
          <a:endParaRPr lang="en-IN"/>
        </a:p>
      </dgm:t>
    </dgm:pt>
    <dgm:pt modelId="{EF4D49F1-98BE-4AE7-A412-6B82FEA1F911}">
      <dgm:prSet phldrT="[Text]"/>
      <dgm:spPr/>
      <dgm:t>
        <a:bodyPr/>
        <a:lstStyle/>
        <a:p>
          <a:pPr>
            <a:buNone/>
          </a:pPr>
          <a:r>
            <a:rPr lang="en-IN" dirty="0">
              <a:solidFill>
                <a:schemeClr val="tx2"/>
              </a:solidFill>
            </a:rPr>
            <a:t> A container registry is a central software repository hub which stores container images. Central public container registries are </a:t>
          </a:r>
          <a:r>
            <a:rPr lang="en-IN" dirty="0">
              <a:solidFill>
                <a:schemeClr val="tx2"/>
              </a:solidFill>
              <a:hlinkClick xmlns:r="http://schemas.openxmlformats.org/officeDocument/2006/relationships" r:id="rId1">
                <a:extLst>
                  <a:ext uri="{A12FA001-AC4F-418D-AE19-62706E023703}">
                    <ahyp:hlinkClr xmlns:ahyp="http://schemas.microsoft.com/office/drawing/2018/hyperlinkcolor" val="tx"/>
                  </a:ext>
                </a:extLst>
              </a:hlinkClick>
            </a:rPr>
            <a:t>https://hub.docker.com/</a:t>
          </a:r>
          <a:r>
            <a:rPr lang="en-IN" dirty="0">
              <a:solidFill>
                <a:schemeClr val="tx2"/>
              </a:solidFill>
            </a:rPr>
            <a:t>, google public cloud storage etc..</a:t>
          </a:r>
        </a:p>
      </dgm:t>
    </dgm:pt>
    <dgm:pt modelId="{4DA4A2F4-2C56-418F-A23C-BC605F8C89EF}" type="parTrans" cxnId="{A123525F-DD0E-4478-B271-21744AE21550}">
      <dgm:prSet/>
      <dgm:spPr/>
      <dgm:t>
        <a:bodyPr/>
        <a:lstStyle/>
        <a:p>
          <a:endParaRPr lang="en-IN"/>
        </a:p>
      </dgm:t>
    </dgm:pt>
    <dgm:pt modelId="{EF2E0F93-6899-49B5-AA42-B7CAE8D8DA8B}" type="sibTrans" cxnId="{A123525F-DD0E-4478-B271-21744AE21550}">
      <dgm:prSet/>
      <dgm:spPr/>
      <dgm:t>
        <a:bodyPr/>
        <a:lstStyle/>
        <a:p>
          <a:endParaRPr lang="en-IN"/>
        </a:p>
      </dgm:t>
    </dgm:pt>
    <dgm:pt modelId="{5957DC42-8496-4672-83B3-9A5931104DE6}">
      <dgm:prSet phldrT="[Text]"/>
      <dgm:spPr/>
      <dgm:t>
        <a:bodyPr/>
        <a:lstStyle/>
        <a:p>
          <a:endParaRPr lang="en-IN" dirty="0"/>
        </a:p>
      </dgm:t>
    </dgm:pt>
    <dgm:pt modelId="{35DC2CF6-7D9E-4870-9264-1278FCA9A055}" type="parTrans" cxnId="{814DF80B-315B-4B95-B19A-25EEE612B74F}">
      <dgm:prSet/>
      <dgm:spPr/>
      <dgm:t>
        <a:bodyPr/>
        <a:lstStyle/>
        <a:p>
          <a:endParaRPr lang="en-IN"/>
        </a:p>
      </dgm:t>
    </dgm:pt>
    <dgm:pt modelId="{3F030BB8-A9E6-48DA-A5A9-9B1CE655E096}" type="sibTrans" cxnId="{814DF80B-315B-4B95-B19A-25EEE612B74F}">
      <dgm:prSet/>
      <dgm:spPr/>
      <dgm:t>
        <a:bodyPr/>
        <a:lstStyle/>
        <a:p>
          <a:endParaRPr lang="en-IN"/>
        </a:p>
      </dgm:t>
    </dgm:pt>
    <dgm:pt modelId="{1F50F06F-2260-4E3C-9E98-AE5EE0C4C7D0}">
      <dgm:prSet phldrT="[Text]"/>
      <dgm:spPr/>
      <dgm:t>
        <a:bodyPr/>
        <a:lstStyle/>
        <a:p>
          <a:pPr>
            <a:buNone/>
          </a:pPr>
          <a:r>
            <a:rPr lang="en-IN" dirty="0">
              <a:solidFill>
                <a:schemeClr val="tx2"/>
              </a:solidFill>
            </a:rPr>
            <a:t>Container Tag is the version which distinguish different container image versions. It is similar to software version.</a:t>
          </a:r>
        </a:p>
      </dgm:t>
    </dgm:pt>
    <dgm:pt modelId="{82D8D9D8-D933-42A5-ABC6-DECCC7A84BAD}" type="parTrans" cxnId="{D52DD210-5FC0-4873-B9AB-83D3F5001E37}">
      <dgm:prSet/>
      <dgm:spPr/>
      <dgm:t>
        <a:bodyPr/>
        <a:lstStyle/>
        <a:p>
          <a:endParaRPr lang="en-IN"/>
        </a:p>
      </dgm:t>
    </dgm:pt>
    <dgm:pt modelId="{9FC3B7A0-963E-4656-81E6-C6B6C623B566}" type="sibTrans" cxnId="{D52DD210-5FC0-4873-B9AB-83D3F5001E37}">
      <dgm:prSet/>
      <dgm:spPr/>
      <dgm:t>
        <a:bodyPr/>
        <a:lstStyle/>
        <a:p>
          <a:endParaRPr lang="en-IN"/>
        </a:p>
      </dgm:t>
    </dgm:pt>
    <dgm:pt modelId="{933A286A-AD17-4AD1-950A-5AD6A3C3848C}">
      <dgm:prSet phldrT="[Text]"/>
      <dgm:spPr/>
      <dgm:t>
        <a:bodyPr/>
        <a:lstStyle/>
        <a:p>
          <a:endParaRPr lang="en-IN" dirty="0"/>
        </a:p>
      </dgm:t>
    </dgm:pt>
    <dgm:pt modelId="{37B1B789-C770-468D-A944-FEE754D1A540}" type="parTrans" cxnId="{DEC86DCD-9B5C-42FF-9001-E05D85FAF08C}">
      <dgm:prSet/>
      <dgm:spPr/>
      <dgm:t>
        <a:bodyPr/>
        <a:lstStyle/>
        <a:p>
          <a:endParaRPr lang="en-IN"/>
        </a:p>
      </dgm:t>
    </dgm:pt>
    <dgm:pt modelId="{BDEDA7D1-31BC-42E7-AD0C-BB33B711B779}" type="sibTrans" cxnId="{DEC86DCD-9B5C-42FF-9001-E05D85FAF08C}">
      <dgm:prSet/>
      <dgm:spPr/>
      <dgm:t>
        <a:bodyPr/>
        <a:lstStyle/>
        <a:p>
          <a:endParaRPr lang="en-IN"/>
        </a:p>
      </dgm:t>
    </dgm:pt>
    <dgm:pt modelId="{E85A92A7-6987-4028-82D1-083A5603BECF}" type="pres">
      <dgm:prSet presAssocID="{6D91852E-383B-4896-9C23-D9C901179F69}" presName="Name0" presStyleCnt="0">
        <dgm:presLayoutVars>
          <dgm:chMax/>
          <dgm:chPref val="3"/>
          <dgm:dir/>
          <dgm:animOne val="branch"/>
          <dgm:animLvl val="lvl"/>
        </dgm:presLayoutVars>
      </dgm:prSet>
      <dgm:spPr/>
    </dgm:pt>
    <dgm:pt modelId="{7AA6612E-8DB0-45F8-91AF-B330A216EA3D}" type="pres">
      <dgm:prSet presAssocID="{BA02106F-8D3E-4F69-9F94-E3D76A797A35}" presName="composite" presStyleCnt="0"/>
      <dgm:spPr/>
    </dgm:pt>
    <dgm:pt modelId="{A9614BB7-D6C7-4435-B437-18E154CB3859}" type="pres">
      <dgm:prSet presAssocID="{BA02106F-8D3E-4F69-9F94-E3D76A797A35}" presName="FirstChild" presStyleLbl="revTx" presStyleIdx="0" presStyleCnt="10">
        <dgm:presLayoutVars>
          <dgm:chMax val="0"/>
          <dgm:chPref val="0"/>
          <dgm:bulletEnabled val="1"/>
        </dgm:presLayoutVars>
      </dgm:prSet>
      <dgm:spPr/>
    </dgm:pt>
    <dgm:pt modelId="{9C50BCFC-D54F-4BA2-9552-7F0FE6B4C80D}" type="pres">
      <dgm:prSet presAssocID="{BA02106F-8D3E-4F69-9F94-E3D76A797A35}" presName="Parent" presStyleLbl="alignNode1" presStyleIdx="0" presStyleCnt="5">
        <dgm:presLayoutVars>
          <dgm:chMax val="3"/>
          <dgm:chPref val="3"/>
          <dgm:bulletEnabled val="1"/>
        </dgm:presLayoutVars>
      </dgm:prSet>
      <dgm:spPr/>
    </dgm:pt>
    <dgm:pt modelId="{A3B3F0F8-69D5-4CC8-8914-9F227F7B5115}" type="pres">
      <dgm:prSet presAssocID="{BA02106F-8D3E-4F69-9F94-E3D76A797A35}" presName="Accent" presStyleLbl="parChTrans1D1" presStyleIdx="0" presStyleCnt="5"/>
      <dgm:spPr/>
    </dgm:pt>
    <dgm:pt modelId="{8102EF08-2D89-410F-9777-5630572C5832}" type="pres">
      <dgm:prSet presAssocID="{BA02106F-8D3E-4F69-9F94-E3D76A797A35}" presName="Child" presStyleLbl="revTx" presStyleIdx="1" presStyleCnt="10">
        <dgm:presLayoutVars>
          <dgm:chMax val="0"/>
          <dgm:chPref val="0"/>
          <dgm:bulletEnabled val="1"/>
        </dgm:presLayoutVars>
      </dgm:prSet>
      <dgm:spPr/>
    </dgm:pt>
    <dgm:pt modelId="{05C05591-627F-44F5-97B4-1E1631597354}" type="pres">
      <dgm:prSet presAssocID="{D1E5EB83-8BC7-4DE8-9017-3E3BC6E6D471}" presName="sibTrans" presStyleCnt="0"/>
      <dgm:spPr/>
    </dgm:pt>
    <dgm:pt modelId="{27C8A4E5-6CB7-453A-BBB6-CF70ED79ECE9}" type="pres">
      <dgm:prSet presAssocID="{1EEF9715-AA49-4084-8EE5-A909BF2FC24C}" presName="composite" presStyleCnt="0"/>
      <dgm:spPr/>
    </dgm:pt>
    <dgm:pt modelId="{CF61EFEB-DCC9-4211-BF27-6C17205E86C1}" type="pres">
      <dgm:prSet presAssocID="{1EEF9715-AA49-4084-8EE5-A909BF2FC24C}" presName="FirstChild" presStyleLbl="revTx" presStyleIdx="2" presStyleCnt="10">
        <dgm:presLayoutVars>
          <dgm:chMax val="0"/>
          <dgm:chPref val="0"/>
          <dgm:bulletEnabled val="1"/>
        </dgm:presLayoutVars>
      </dgm:prSet>
      <dgm:spPr/>
    </dgm:pt>
    <dgm:pt modelId="{476383A8-643B-42C9-8981-564251140A05}" type="pres">
      <dgm:prSet presAssocID="{1EEF9715-AA49-4084-8EE5-A909BF2FC24C}" presName="Parent" presStyleLbl="alignNode1" presStyleIdx="1" presStyleCnt="5">
        <dgm:presLayoutVars>
          <dgm:chMax val="3"/>
          <dgm:chPref val="3"/>
          <dgm:bulletEnabled val="1"/>
        </dgm:presLayoutVars>
      </dgm:prSet>
      <dgm:spPr/>
    </dgm:pt>
    <dgm:pt modelId="{BDAD71F0-8990-4EC4-99B6-D916E386FD63}" type="pres">
      <dgm:prSet presAssocID="{1EEF9715-AA49-4084-8EE5-A909BF2FC24C}" presName="Accent" presStyleLbl="parChTrans1D1" presStyleIdx="1" presStyleCnt="5"/>
      <dgm:spPr/>
    </dgm:pt>
    <dgm:pt modelId="{7195114F-D131-4C84-8B92-B164332B3FAA}" type="pres">
      <dgm:prSet presAssocID="{1EEF9715-AA49-4084-8EE5-A909BF2FC24C}" presName="Child" presStyleLbl="revTx" presStyleIdx="3" presStyleCnt="10">
        <dgm:presLayoutVars>
          <dgm:chMax val="0"/>
          <dgm:chPref val="0"/>
          <dgm:bulletEnabled val="1"/>
        </dgm:presLayoutVars>
      </dgm:prSet>
      <dgm:spPr/>
    </dgm:pt>
    <dgm:pt modelId="{D61D1507-80E6-4F62-87D3-1A05466D14D7}" type="pres">
      <dgm:prSet presAssocID="{35997440-BED9-40B0-8B34-B7E7B551A4E7}" presName="sibTrans" presStyleCnt="0"/>
      <dgm:spPr/>
    </dgm:pt>
    <dgm:pt modelId="{14CA3899-5EAB-4C50-9C58-80B7CB34F2C0}" type="pres">
      <dgm:prSet presAssocID="{5CD346A4-DCBF-4EA1-B2B9-C8DEEB7729EE}" presName="composite" presStyleCnt="0"/>
      <dgm:spPr/>
    </dgm:pt>
    <dgm:pt modelId="{4DE09FB2-9492-4AE6-836C-CC8EB459781A}" type="pres">
      <dgm:prSet presAssocID="{5CD346A4-DCBF-4EA1-B2B9-C8DEEB7729EE}" presName="FirstChild" presStyleLbl="revTx" presStyleIdx="4" presStyleCnt="10">
        <dgm:presLayoutVars>
          <dgm:chMax val="0"/>
          <dgm:chPref val="0"/>
          <dgm:bulletEnabled val="1"/>
        </dgm:presLayoutVars>
      </dgm:prSet>
      <dgm:spPr/>
    </dgm:pt>
    <dgm:pt modelId="{F1107D10-0233-48CF-91E7-E922D72F80A5}" type="pres">
      <dgm:prSet presAssocID="{5CD346A4-DCBF-4EA1-B2B9-C8DEEB7729EE}" presName="Parent" presStyleLbl="alignNode1" presStyleIdx="2" presStyleCnt="5">
        <dgm:presLayoutVars>
          <dgm:chMax val="3"/>
          <dgm:chPref val="3"/>
          <dgm:bulletEnabled val="1"/>
        </dgm:presLayoutVars>
      </dgm:prSet>
      <dgm:spPr/>
    </dgm:pt>
    <dgm:pt modelId="{F3484DF9-1364-477E-8299-9A5397453C46}" type="pres">
      <dgm:prSet presAssocID="{5CD346A4-DCBF-4EA1-B2B9-C8DEEB7729EE}" presName="Accent" presStyleLbl="parChTrans1D1" presStyleIdx="2" presStyleCnt="5"/>
      <dgm:spPr/>
    </dgm:pt>
    <dgm:pt modelId="{ED2BE4A4-5982-459E-ADB7-A9908D561E72}" type="pres">
      <dgm:prSet presAssocID="{5CD346A4-DCBF-4EA1-B2B9-C8DEEB7729EE}" presName="Child" presStyleLbl="revTx" presStyleIdx="5" presStyleCnt="10">
        <dgm:presLayoutVars>
          <dgm:chMax val="0"/>
          <dgm:chPref val="0"/>
          <dgm:bulletEnabled val="1"/>
        </dgm:presLayoutVars>
      </dgm:prSet>
      <dgm:spPr/>
    </dgm:pt>
    <dgm:pt modelId="{9EEE3CD6-4184-4583-8062-D6CB3A4CC6F0}" type="pres">
      <dgm:prSet presAssocID="{CAEBB828-684E-4E9E-98FB-9835E5DA6940}" presName="sibTrans" presStyleCnt="0"/>
      <dgm:spPr/>
    </dgm:pt>
    <dgm:pt modelId="{7772F4B3-AF22-47D7-85D7-B19A5CC9F086}" type="pres">
      <dgm:prSet presAssocID="{4DFEAC23-1A6C-46DB-BA0E-40B746C55F43}" presName="composite" presStyleCnt="0"/>
      <dgm:spPr/>
    </dgm:pt>
    <dgm:pt modelId="{D82ACAAE-9A09-428F-A11E-3F3EEFAEC9D5}" type="pres">
      <dgm:prSet presAssocID="{4DFEAC23-1A6C-46DB-BA0E-40B746C55F43}" presName="FirstChild" presStyleLbl="revTx" presStyleIdx="6" presStyleCnt="10">
        <dgm:presLayoutVars>
          <dgm:chMax val="0"/>
          <dgm:chPref val="0"/>
          <dgm:bulletEnabled val="1"/>
        </dgm:presLayoutVars>
      </dgm:prSet>
      <dgm:spPr/>
    </dgm:pt>
    <dgm:pt modelId="{476E3AE9-6DA8-46AF-9B7A-8D54AE19B71D}" type="pres">
      <dgm:prSet presAssocID="{4DFEAC23-1A6C-46DB-BA0E-40B746C55F43}" presName="Parent" presStyleLbl="alignNode1" presStyleIdx="3" presStyleCnt="5">
        <dgm:presLayoutVars>
          <dgm:chMax val="3"/>
          <dgm:chPref val="3"/>
          <dgm:bulletEnabled val="1"/>
        </dgm:presLayoutVars>
      </dgm:prSet>
      <dgm:spPr/>
    </dgm:pt>
    <dgm:pt modelId="{5E98A2D8-ACF1-44EE-9E0F-9C45D73565D6}" type="pres">
      <dgm:prSet presAssocID="{4DFEAC23-1A6C-46DB-BA0E-40B746C55F43}" presName="Accent" presStyleLbl="parChTrans1D1" presStyleIdx="3" presStyleCnt="5"/>
      <dgm:spPr/>
    </dgm:pt>
    <dgm:pt modelId="{7766C3E4-7CD4-4871-99F1-58E33122CBB5}" type="pres">
      <dgm:prSet presAssocID="{4DFEAC23-1A6C-46DB-BA0E-40B746C55F43}" presName="Child" presStyleLbl="revTx" presStyleIdx="7" presStyleCnt="10">
        <dgm:presLayoutVars>
          <dgm:chMax val="0"/>
          <dgm:chPref val="0"/>
          <dgm:bulletEnabled val="1"/>
        </dgm:presLayoutVars>
      </dgm:prSet>
      <dgm:spPr/>
    </dgm:pt>
    <dgm:pt modelId="{4385077D-2CAA-47CA-AA84-8AA2EACDD3D8}" type="pres">
      <dgm:prSet presAssocID="{A6EB2253-010C-4D36-8414-9B6C713BB2FD}" presName="sibTrans" presStyleCnt="0"/>
      <dgm:spPr/>
    </dgm:pt>
    <dgm:pt modelId="{812B1454-8119-40FD-9157-51908E68AF78}" type="pres">
      <dgm:prSet presAssocID="{EB9A41E1-2841-4E03-AD59-8F887F3990AD}" presName="composite" presStyleCnt="0"/>
      <dgm:spPr/>
    </dgm:pt>
    <dgm:pt modelId="{12363F8C-977D-470C-A868-931A86AEFAD7}" type="pres">
      <dgm:prSet presAssocID="{EB9A41E1-2841-4E03-AD59-8F887F3990AD}" presName="FirstChild" presStyleLbl="revTx" presStyleIdx="8" presStyleCnt="10">
        <dgm:presLayoutVars>
          <dgm:chMax val="0"/>
          <dgm:chPref val="0"/>
          <dgm:bulletEnabled val="1"/>
        </dgm:presLayoutVars>
      </dgm:prSet>
      <dgm:spPr/>
    </dgm:pt>
    <dgm:pt modelId="{D544AD11-C671-40DD-8885-93A7E81621A8}" type="pres">
      <dgm:prSet presAssocID="{EB9A41E1-2841-4E03-AD59-8F887F3990AD}" presName="Parent" presStyleLbl="alignNode1" presStyleIdx="4" presStyleCnt="5">
        <dgm:presLayoutVars>
          <dgm:chMax val="3"/>
          <dgm:chPref val="3"/>
          <dgm:bulletEnabled val="1"/>
        </dgm:presLayoutVars>
      </dgm:prSet>
      <dgm:spPr/>
    </dgm:pt>
    <dgm:pt modelId="{29F103BC-91E9-44C3-BDEC-5C1F988EBAC9}" type="pres">
      <dgm:prSet presAssocID="{EB9A41E1-2841-4E03-AD59-8F887F3990AD}" presName="Accent" presStyleLbl="parChTrans1D1" presStyleIdx="4" presStyleCnt="5"/>
      <dgm:spPr/>
    </dgm:pt>
    <dgm:pt modelId="{83D5A534-EB35-4E74-8F7D-F0C323A6741D}" type="pres">
      <dgm:prSet presAssocID="{EB9A41E1-2841-4E03-AD59-8F887F3990AD}" presName="Child" presStyleLbl="revTx" presStyleIdx="9" presStyleCnt="10">
        <dgm:presLayoutVars>
          <dgm:chMax val="0"/>
          <dgm:chPref val="0"/>
          <dgm:bulletEnabled val="1"/>
        </dgm:presLayoutVars>
      </dgm:prSet>
      <dgm:spPr/>
    </dgm:pt>
  </dgm:ptLst>
  <dgm:cxnLst>
    <dgm:cxn modelId="{9A1E0907-905D-4D37-8ED0-F7648D3DF675}" srcId="{5CD346A4-DCBF-4EA1-B2B9-C8DEEB7729EE}" destId="{A8F1A0D6-C92A-4B82-9C4F-D045218FE45B}" srcOrd="1" destOrd="0" parTransId="{34E7437B-92F8-4511-9E65-EBCD740550AF}" sibTransId="{4F5C9EFF-450E-475A-9B5D-4B1E59B171B8}"/>
    <dgm:cxn modelId="{814DF80B-315B-4B95-B19A-25EEE612B74F}" srcId="{4DFEAC23-1A6C-46DB-BA0E-40B746C55F43}" destId="{5957DC42-8496-4672-83B3-9A5931104DE6}" srcOrd="0" destOrd="0" parTransId="{35DC2CF6-7D9E-4870-9264-1278FCA9A055}" sibTransId="{3F030BB8-A9E6-48DA-A5A9-9B1CE655E096}"/>
    <dgm:cxn modelId="{D52DD210-5FC0-4873-B9AB-83D3F5001E37}" srcId="{EB9A41E1-2841-4E03-AD59-8F887F3990AD}" destId="{1F50F06F-2260-4E3C-9E98-AE5EE0C4C7D0}" srcOrd="1" destOrd="0" parTransId="{82D8D9D8-D933-42A5-ABC6-DECCC7A84BAD}" sibTransId="{9FC3B7A0-963E-4656-81E6-C6B6C623B566}"/>
    <dgm:cxn modelId="{4DC2AD17-370F-41F8-A13B-572452FD5A7D}" srcId="{6D91852E-383B-4896-9C23-D9C901179F69}" destId="{5CD346A4-DCBF-4EA1-B2B9-C8DEEB7729EE}" srcOrd="2" destOrd="0" parTransId="{35FB2DAE-4FA0-4316-8942-223A841982B0}" sibTransId="{CAEBB828-684E-4E9E-98FB-9835E5DA6940}"/>
    <dgm:cxn modelId="{500C9529-3147-4D5D-9558-7FAC68DCBCAA}" srcId="{6D91852E-383B-4896-9C23-D9C901179F69}" destId="{BA02106F-8D3E-4F69-9F94-E3D76A797A35}" srcOrd="0" destOrd="0" parTransId="{26B54867-FBEC-4DDD-A1BF-7AB10B0415C2}" sibTransId="{D1E5EB83-8BC7-4DE8-9017-3E3BC6E6D471}"/>
    <dgm:cxn modelId="{4CCA8F2B-7DF0-46D5-A451-1F7CC6E24073}" srcId="{1EEF9715-AA49-4084-8EE5-A909BF2FC24C}" destId="{0937EB2D-ECB9-4369-AC3A-F6F1DBA57EBA}" srcOrd="0" destOrd="0" parTransId="{8D02F50E-2601-4425-8306-854FA2CFAFA0}" sibTransId="{0B813464-D0A4-4C80-8F17-F434B2E607F5}"/>
    <dgm:cxn modelId="{59565F2C-17AA-4B9C-B65D-33E4F958F2FB}" type="presOf" srcId="{BA02106F-8D3E-4F69-9F94-E3D76A797A35}" destId="{9C50BCFC-D54F-4BA2-9552-7F0FE6B4C80D}" srcOrd="0" destOrd="0" presId="urn:microsoft.com/office/officeart/2011/layout/TabList"/>
    <dgm:cxn modelId="{69ADD831-DE81-4AA1-B0F5-E052FBC68895}" type="presOf" srcId="{1F50F06F-2260-4E3C-9E98-AE5EE0C4C7D0}" destId="{83D5A534-EB35-4E74-8F7D-F0C323A6741D}" srcOrd="0" destOrd="0" presId="urn:microsoft.com/office/officeart/2011/layout/TabList"/>
    <dgm:cxn modelId="{499D3436-D328-4594-8457-3FD379071134}" type="presOf" srcId="{EF4D49F1-98BE-4AE7-A412-6B82FEA1F911}" destId="{7766C3E4-7CD4-4871-99F1-58E33122CBB5}" srcOrd="0" destOrd="0" presId="urn:microsoft.com/office/officeart/2011/layout/TabList"/>
    <dgm:cxn modelId="{4088845E-285D-4468-BB5F-E048FE4B1D2B}" srcId="{6D91852E-383B-4896-9C23-D9C901179F69}" destId="{1EEF9715-AA49-4084-8EE5-A909BF2FC24C}" srcOrd="1" destOrd="0" parTransId="{555DCDA7-1F87-422E-87B5-9BEE8BB6BCFE}" sibTransId="{35997440-BED9-40B0-8B34-B7E7B551A4E7}"/>
    <dgm:cxn modelId="{A123525F-DD0E-4478-B271-21744AE21550}" srcId="{4DFEAC23-1A6C-46DB-BA0E-40B746C55F43}" destId="{EF4D49F1-98BE-4AE7-A412-6B82FEA1F911}" srcOrd="1" destOrd="0" parTransId="{4DA4A2F4-2C56-418F-A23C-BC605F8C89EF}" sibTransId="{EF2E0F93-6899-49B5-AA42-B7CAE8D8DA8B}"/>
    <dgm:cxn modelId="{4B90554C-0629-4AE1-AAE9-7D4C8DD6AA16}" type="presOf" srcId="{0937EB2D-ECB9-4369-AC3A-F6F1DBA57EBA}" destId="{CF61EFEB-DCC9-4211-BF27-6C17205E86C1}" srcOrd="0" destOrd="0" presId="urn:microsoft.com/office/officeart/2011/layout/TabList"/>
    <dgm:cxn modelId="{86F3454D-09B1-4FF1-8B63-A3B5BC6F1092}" type="presOf" srcId="{933A286A-AD17-4AD1-950A-5AD6A3C3848C}" destId="{12363F8C-977D-470C-A868-931A86AEFAD7}" srcOrd="0" destOrd="0" presId="urn:microsoft.com/office/officeart/2011/layout/TabList"/>
    <dgm:cxn modelId="{8F253C51-49B1-47F0-B30A-53FE8835A93F}" srcId="{BA02106F-8D3E-4F69-9F94-E3D76A797A35}" destId="{AF242455-2542-4E63-AB4E-75B55039152A}" srcOrd="1" destOrd="0" parTransId="{7E17D2E3-16CB-4608-9022-B5C56836BEC1}" sibTransId="{BE5CB55F-1BE2-4DF5-86C1-3FE51086B39F}"/>
    <dgm:cxn modelId="{C830D054-2D30-40FC-A977-5D52EB4B2095}" type="presOf" srcId="{6D91852E-383B-4896-9C23-D9C901179F69}" destId="{E85A92A7-6987-4028-82D1-083A5603BECF}" srcOrd="0" destOrd="0" presId="urn:microsoft.com/office/officeart/2011/layout/TabList"/>
    <dgm:cxn modelId="{6F308482-6B20-4158-B8F9-3C709F59571F}" type="presOf" srcId="{A8F1A0D6-C92A-4B82-9C4F-D045218FE45B}" destId="{ED2BE4A4-5982-459E-ADB7-A9908D561E72}" srcOrd="0" destOrd="0" presId="urn:microsoft.com/office/officeart/2011/layout/TabList"/>
    <dgm:cxn modelId="{E56D9495-7BF8-4B44-A97C-2F690E52B1D8}" type="presOf" srcId="{EB9A41E1-2841-4E03-AD59-8F887F3990AD}" destId="{D544AD11-C671-40DD-8885-93A7E81621A8}" srcOrd="0" destOrd="0" presId="urn:microsoft.com/office/officeart/2011/layout/TabList"/>
    <dgm:cxn modelId="{B4DED69C-527D-4DFB-80BA-E96896AA59DE}" type="presOf" srcId="{AF242455-2542-4E63-AB4E-75B55039152A}" destId="{8102EF08-2D89-410F-9777-5630572C5832}" srcOrd="0" destOrd="0" presId="urn:microsoft.com/office/officeart/2011/layout/TabList"/>
    <dgm:cxn modelId="{9E849DA1-13F6-416B-89A3-4C4EB1F706EA}" type="presOf" srcId="{73373CBA-AB8C-474F-8275-8BFBBA32DCDA}" destId="{7195114F-D131-4C84-8B92-B164332B3FAA}" srcOrd="0" destOrd="0" presId="urn:microsoft.com/office/officeart/2011/layout/TabList"/>
    <dgm:cxn modelId="{6AB091A5-F8E5-4A57-9132-33D76566A19B}" srcId="{5CD346A4-DCBF-4EA1-B2B9-C8DEEB7729EE}" destId="{F83395FF-14CC-4B55-8BEA-6961D58620BB}" srcOrd="0" destOrd="0" parTransId="{94DD9EA6-C2F1-4DBF-8705-5BBD0852C7C4}" sibTransId="{46026156-C8F3-4A82-BAC6-F51B96AD38F3}"/>
    <dgm:cxn modelId="{8198F9A9-D45E-46F1-8150-196FBE93B972}" type="presOf" srcId="{5957DC42-8496-4672-83B3-9A5931104DE6}" destId="{D82ACAAE-9A09-428F-A11E-3F3EEFAEC9D5}" srcOrd="0" destOrd="0" presId="urn:microsoft.com/office/officeart/2011/layout/TabList"/>
    <dgm:cxn modelId="{CF452BB3-7CA9-46A1-9C07-807C35B6A056}" srcId="{BA02106F-8D3E-4F69-9F94-E3D76A797A35}" destId="{D5C03E19-C88F-491B-9BA3-EB242D84EABD}" srcOrd="0" destOrd="0" parTransId="{A929E578-0EA6-4792-B301-FFA872EE18A8}" sibTransId="{898B8B0A-83FA-4015-A132-725384AE5EB3}"/>
    <dgm:cxn modelId="{4B78C8B3-AA8F-4050-9C9D-526097FAB113}" srcId="{1EEF9715-AA49-4084-8EE5-A909BF2FC24C}" destId="{73373CBA-AB8C-474F-8275-8BFBBA32DCDA}" srcOrd="1" destOrd="0" parTransId="{8999A739-0370-452A-A800-B686E8B3C712}" sibTransId="{499F577B-E4F2-4E67-A1B6-5D1F13B755C0}"/>
    <dgm:cxn modelId="{3CABDFB3-BCAB-4BFD-A023-2D507738578D}" type="presOf" srcId="{1EEF9715-AA49-4084-8EE5-A909BF2FC24C}" destId="{476383A8-643B-42C9-8981-564251140A05}" srcOrd="0" destOrd="0" presId="urn:microsoft.com/office/officeart/2011/layout/TabList"/>
    <dgm:cxn modelId="{903D4BC9-8138-46F2-9985-CC15D647587B}" type="presOf" srcId="{4DFEAC23-1A6C-46DB-BA0E-40B746C55F43}" destId="{476E3AE9-6DA8-46AF-9B7A-8D54AE19B71D}" srcOrd="0" destOrd="0" presId="urn:microsoft.com/office/officeart/2011/layout/TabList"/>
    <dgm:cxn modelId="{DEC86DCD-9B5C-42FF-9001-E05D85FAF08C}" srcId="{EB9A41E1-2841-4E03-AD59-8F887F3990AD}" destId="{933A286A-AD17-4AD1-950A-5AD6A3C3848C}" srcOrd="0" destOrd="0" parTransId="{37B1B789-C770-468D-A944-FEE754D1A540}" sibTransId="{BDEDA7D1-31BC-42E7-AD0C-BB33B711B779}"/>
    <dgm:cxn modelId="{DB9F02DF-42F9-4CD4-B15B-6C59DE36516D}" type="presOf" srcId="{D5C03E19-C88F-491B-9BA3-EB242D84EABD}" destId="{A9614BB7-D6C7-4435-B437-18E154CB3859}" srcOrd="0" destOrd="0" presId="urn:microsoft.com/office/officeart/2011/layout/TabList"/>
    <dgm:cxn modelId="{3D61F2E3-5EB3-451A-83C9-F0C7C5BFD880}" type="presOf" srcId="{5CD346A4-DCBF-4EA1-B2B9-C8DEEB7729EE}" destId="{F1107D10-0233-48CF-91E7-E922D72F80A5}" srcOrd="0" destOrd="0" presId="urn:microsoft.com/office/officeart/2011/layout/TabList"/>
    <dgm:cxn modelId="{953516ED-8205-49C7-BBF3-38E509849AD0}" srcId="{6D91852E-383B-4896-9C23-D9C901179F69}" destId="{4DFEAC23-1A6C-46DB-BA0E-40B746C55F43}" srcOrd="3" destOrd="0" parTransId="{C0179E8A-A514-470D-895E-84A599546B0D}" sibTransId="{A6EB2253-010C-4D36-8414-9B6C713BB2FD}"/>
    <dgm:cxn modelId="{667C41F5-82BD-47FC-B898-34F2D5DE8340}" type="presOf" srcId="{F83395FF-14CC-4B55-8BEA-6961D58620BB}" destId="{4DE09FB2-9492-4AE6-836C-CC8EB459781A}" srcOrd="0" destOrd="0" presId="urn:microsoft.com/office/officeart/2011/layout/TabList"/>
    <dgm:cxn modelId="{EBC217FD-1724-4599-B6BC-AD4B605B5456}" srcId="{6D91852E-383B-4896-9C23-D9C901179F69}" destId="{EB9A41E1-2841-4E03-AD59-8F887F3990AD}" srcOrd="4" destOrd="0" parTransId="{772FCA04-56DA-47FA-95C5-4ACD1CCA0856}" sibTransId="{A4F74022-35B3-43D6-AD90-BB0C369DEDB7}"/>
    <dgm:cxn modelId="{CBF0D23C-73BD-4C7D-9B8F-B91F423ECDE9}" type="presParOf" srcId="{E85A92A7-6987-4028-82D1-083A5603BECF}" destId="{7AA6612E-8DB0-45F8-91AF-B330A216EA3D}" srcOrd="0" destOrd="0" presId="urn:microsoft.com/office/officeart/2011/layout/TabList"/>
    <dgm:cxn modelId="{B0F14D7F-E606-418E-85E8-7B25F87F45DC}" type="presParOf" srcId="{7AA6612E-8DB0-45F8-91AF-B330A216EA3D}" destId="{A9614BB7-D6C7-4435-B437-18E154CB3859}" srcOrd="0" destOrd="0" presId="urn:microsoft.com/office/officeart/2011/layout/TabList"/>
    <dgm:cxn modelId="{F9F6A600-5C72-4A33-B444-DC2F953B70A7}" type="presParOf" srcId="{7AA6612E-8DB0-45F8-91AF-B330A216EA3D}" destId="{9C50BCFC-D54F-4BA2-9552-7F0FE6B4C80D}" srcOrd="1" destOrd="0" presId="urn:microsoft.com/office/officeart/2011/layout/TabList"/>
    <dgm:cxn modelId="{8B0D3E91-9528-4F7E-937E-19B78ABF8BC3}" type="presParOf" srcId="{7AA6612E-8DB0-45F8-91AF-B330A216EA3D}" destId="{A3B3F0F8-69D5-4CC8-8914-9F227F7B5115}" srcOrd="2" destOrd="0" presId="urn:microsoft.com/office/officeart/2011/layout/TabList"/>
    <dgm:cxn modelId="{D2EFCA58-9D66-4F22-8D14-2007E8403043}" type="presParOf" srcId="{E85A92A7-6987-4028-82D1-083A5603BECF}" destId="{8102EF08-2D89-410F-9777-5630572C5832}" srcOrd="1" destOrd="0" presId="urn:microsoft.com/office/officeart/2011/layout/TabList"/>
    <dgm:cxn modelId="{76604902-B8A2-48EE-9D15-77637F80AAE3}" type="presParOf" srcId="{E85A92A7-6987-4028-82D1-083A5603BECF}" destId="{05C05591-627F-44F5-97B4-1E1631597354}" srcOrd="2" destOrd="0" presId="urn:microsoft.com/office/officeart/2011/layout/TabList"/>
    <dgm:cxn modelId="{1CEBA85B-20D3-4876-9405-33C89323B7B4}" type="presParOf" srcId="{E85A92A7-6987-4028-82D1-083A5603BECF}" destId="{27C8A4E5-6CB7-453A-BBB6-CF70ED79ECE9}" srcOrd="3" destOrd="0" presId="urn:microsoft.com/office/officeart/2011/layout/TabList"/>
    <dgm:cxn modelId="{56792D5A-A59A-4291-B799-75FAC3E5F009}" type="presParOf" srcId="{27C8A4E5-6CB7-453A-BBB6-CF70ED79ECE9}" destId="{CF61EFEB-DCC9-4211-BF27-6C17205E86C1}" srcOrd="0" destOrd="0" presId="urn:microsoft.com/office/officeart/2011/layout/TabList"/>
    <dgm:cxn modelId="{E59E1F34-04E0-4267-AC8C-2A6D1FE8AF97}" type="presParOf" srcId="{27C8A4E5-6CB7-453A-BBB6-CF70ED79ECE9}" destId="{476383A8-643B-42C9-8981-564251140A05}" srcOrd="1" destOrd="0" presId="urn:microsoft.com/office/officeart/2011/layout/TabList"/>
    <dgm:cxn modelId="{E8E3E456-DFA4-4062-A78E-C5307FEAF4CE}" type="presParOf" srcId="{27C8A4E5-6CB7-453A-BBB6-CF70ED79ECE9}" destId="{BDAD71F0-8990-4EC4-99B6-D916E386FD63}" srcOrd="2" destOrd="0" presId="urn:microsoft.com/office/officeart/2011/layout/TabList"/>
    <dgm:cxn modelId="{2C59AF1F-337B-4424-B201-9EFD755ED0E3}" type="presParOf" srcId="{E85A92A7-6987-4028-82D1-083A5603BECF}" destId="{7195114F-D131-4C84-8B92-B164332B3FAA}" srcOrd="4" destOrd="0" presId="urn:microsoft.com/office/officeart/2011/layout/TabList"/>
    <dgm:cxn modelId="{CBB08771-CD90-4B4B-A5D6-0B98463600B4}" type="presParOf" srcId="{E85A92A7-6987-4028-82D1-083A5603BECF}" destId="{D61D1507-80E6-4F62-87D3-1A05466D14D7}" srcOrd="5" destOrd="0" presId="urn:microsoft.com/office/officeart/2011/layout/TabList"/>
    <dgm:cxn modelId="{4730E4A7-4C08-4BF9-90C1-9F7C463C4C52}" type="presParOf" srcId="{E85A92A7-6987-4028-82D1-083A5603BECF}" destId="{14CA3899-5EAB-4C50-9C58-80B7CB34F2C0}" srcOrd="6" destOrd="0" presId="urn:microsoft.com/office/officeart/2011/layout/TabList"/>
    <dgm:cxn modelId="{06210850-569F-4BDE-9D0F-8F329DC005A8}" type="presParOf" srcId="{14CA3899-5EAB-4C50-9C58-80B7CB34F2C0}" destId="{4DE09FB2-9492-4AE6-836C-CC8EB459781A}" srcOrd="0" destOrd="0" presId="urn:microsoft.com/office/officeart/2011/layout/TabList"/>
    <dgm:cxn modelId="{D38D0B47-53C0-42F8-9B53-154807C9CD72}" type="presParOf" srcId="{14CA3899-5EAB-4C50-9C58-80B7CB34F2C0}" destId="{F1107D10-0233-48CF-91E7-E922D72F80A5}" srcOrd="1" destOrd="0" presId="urn:microsoft.com/office/officeart/2011/layout/TabList"/>
    <dgm:cxn modelId="{DAF30B57-04FF-4DAD-B146-E721BCADF7B4}" type="presParOf" srcId="{14CA3899-5EAB-4C50-9C58-80B7CB34F2C0}" destId="{F3484DF9-1364-477E-8299-9A5397453C46}" srcOrd="2" destOrd="0" presId="urn:microsoft.com/office/officeart/2011/layout/TabList"/>
    <dgm:cxn modelId="{F1B1F8AE-6059-42DA-8C31-F94AC688C2E8}" type="presParOf" srcId="{E85A92A7-6987-4028-82D1-083A5603BECF}" destId="{ED2BE4A4-5982-459E-ADB7-A9908D561E72}" srcOrd="7" destOrd="0" presId="urn:microsoft.com/office/officeart/2011/layout/TabList"/>
    <dgm:cxn modelId="{DA2FEB45-3A54-427E-B8D8-B320DA2521EE}" type="presParOf" srcId="{E85A92A7-6987-4028-82D1-083A5603BECF}" destId="{9EEE3CD6-4184-4583-8062-D6CB3A4CC6F0}" srcOrd="8" destOrd="0" presId="urn:microsoft.com/office/officeart/2011/layout/TabList"/>
    <dgm:cxn modelId="{2B7FF930-D58D-462B-B1AA-FF343379112C}" type="presParOf" srcId="{E85A92A7-6987-4028-82D1-083A5603BECF}" destId="{7772F4B3-AF22-47D7-85D7-B19A5CC9F086}" srcOrd="9" destOrd="0" presId="urn:microsoft.com/office/officeart/2011/layout/TabList"/>
    <dgm:cxn modelId="{6E7D1437-A508-44C2-A76D-0331543B2446}" type="presParOf" srcId="{7772F4B3-AF22-47D7-85D7-B19A5CC9F086}" destId="{D82ACAAE-9A09-428F-A11E-3F3EEFAEC9D5}" srcOrd="0" destOrd="0" presId="urn:microsoft.com/office/officeart/2011/layout/TabList"/>
    <dgm:cxn modelId="{F4076499-F29F-4FC5-BBBA-68A054DFB80F}" type="presParOf" srcId="{7772F4B3-AF22-47D7-85D7-B19A5CC9F086}" destId="{476E3AE9-6DA8-46AF-9B7A-8D54AE19B71D}" srcOrd="1" destOrd="0" presId="urn:microsoft.com/office/officeart/2011/layout/TabList"/>
    <dgm:cxn modelId="{0D15D0A3-B4E4-4127-8CC0-9544100D18BD}" type="presParOf" srcId="{7772F4B3-AF22-47D7-85D7-B19A5CC9F086}" destId="{5E98A2D8-ACF1-44EE-9E0F-9C45D73565D6}" srcOrd="2" destOrd="0" presId="urn:microsoft.com/office/officeart/2011/layout/TabList"/>
    <dgm:cxn modelId="{156F2676-EE04-4269-8F6A-CCD320CA88B4}" type="presParOf" srcId="{E85A92A7-6987-4028-82D1-083A5603BECF}" destId="{7766C3E4-7CD4-4871-99F1-58E33122CBB5}" srcOrd="10" destOrd="0" presId="urn:microsoft.com/office/officeart/2011/layout/TabList"/>
    <dgm:cxn modelId="{54A1CE00-FCCD-4C59-8555-D84D27D38267}" type="presParOf" srcId="{E85A92A7-6987-4028-82D1-083A5603BECF}" destId="{4385077D-2CAA-47CA-AA84-8AA2EACDD3D8}" srcOrd="11" destOrd="0" presId="urn:microsoft.com/office/officeart/2011/layout/TabList"/>
    <dgm:cxn modelId="{0B7D489B-30BA-4561-8C56-B39E1AA806BF}" type="presParOf" srcId="{E85A92A7-6987-4028-82D1-083A5603BECF}" destId="{812B1454-8119-40FD-9157-51908E68AF78}" srcOrd="12" destOrd="0" presId="urn:microsoft.com/office/officeart/2011/layout/TabList"/>
    <dgm:cxn modelId="{9C6B9FF0-3B1A-417A-884F-AF84BA6B319C}" type="presParOf" srcId="{812B1454-8119-40FD-9157-51908E68AF78}" destId="{12363F8C-977D-470C-A868-931A86AEFAD7}" srcOrd="0" destOrd="0" presId="urn:microsoft.com/office/officeart/2011/layout/TabList"/>
    <dgm:cxn modelId="{450B198B-326C-4427-A9BE-6FC3415291F7}" type="presParOf" srcId="{812B1454-8119-40FD-9157-51908E68AF78}" destId="{D544AD11-C671-40DD-8885-93A7E81621A8}" srcOrd="1" destOrd="0" presId="urn:microsoft.com/office/officeart/2011/layout/TabList"/>
    <dgm:cxn modelId="{45DF49BE-21C8-41F4-A725-7C12B106D590}" type="presParOf" srcId="{812B1454-8119-40FD-9157-51908E68AF78}" destId="{29F103BC-91E9-44C3-BDEC-5C1F988EBAC9}" srcOrd="2" destOrd="0" presId="urn:microsoft.com/office/officeart/2011/layout/TabList"/>
    <dgm:cxn modelId="{0DD63D21-1790-401A-8C3F-E2656BB6DBC9}" type="presParOf" srcId="{E85A92A7-6987-4028-82D1-083A5603BECF}" destId="{83D5A534-EB35-4E74-8F7D-F0C323A6741D}" srcOrd="13" destOrd="0" presId="urn:microsoft.com/office/officeart/2011/layout/Tab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73FC1F-A842-4E05-8346-8E50FF0929E5}" type="doc">
      <dgm:prSet loTypeId="urn:microsoft.com/office/officeart/2011/layout/HexagonRadial" loCatId="cycle" qsTypeId="urn:microsoft.com/office/officeart/2005/8/quickstyle/simple1" qsCatId="simple" csTypeId="urn:microsoft.com/office/officeart/2005/8/colors/accent2_3" csCatId="accent2" phldr="1"/>
      <dgm:spPr/>
      <dgm:t>
        <a:bodyPr/>
        <a:lstStyle/>
        <a:p>
          <a:endParaRPr lang="en-IN"/>
        </a:p>
      </dgm:t>
    </dgm:pt>
    <dgm:pt modelId="{AC41D9E7-D05F-4311-A216-33D1E95CA0B5}">
      <dgm:prSet phldrT="[Text]"/>
      <dgm:spPr/>
      <dgm:t>
        <a:bodyPr/>
        <a:lstStyle/>
        <a:p>
          <a:r>
            <a:rPr lang="en-IN" dirty="0"/>
            <a:t>Features of Kubernetes</a:t>
          </a:r>
        </a:p>
      </dgm:t>
    </dgm:pt>
    <dgm:pt modelId="{C847DAB4-2A99-4D2D-A3B4-2587164A9526}" type="parTrans" cxnId="{8B3ABA59-4754-4D87-B62A-18713A92A7D7}">
      <dgm:prSet/>
      <dgm:spPr/>
      <dgm:t>
        <a:bodyPr/>
        <a:lstStyle/>
        <a:p>
          <a:endParaRPr lang="en-IN"/>
        </a:p>
      </dgm:t>
    </dgm:pt>
    <dgm:pt modelId="{2B785437-BA9A-48C5-9874-8F92286C6364}" type="sibTrans" cxnId="{8B3ABA59-4754-4D87-B62A-18713A92A7D7}">
      <dgm:prSet/>
      <dgm:spPr/>
      <dgm:t>
        <a:bodyPr/>
        <a:lstStyle/>
        <a:p>
          <a:endParaRPr lang="en-IN"/>
        </a:p>
      </dgm:t>
    </dgm:pt>
    <dgm:pt modelId="{4FB9C61B-28AA-4539-9007-B584224C191E}">
      <dgm:prSet phldrT="[Text]"/>
      <dgm:spPr/>
      <dgm:t>
        <a:bodyPr/>
        <a:lstStyle/>
        <a:p>
          <a:r>
            <a:rPr lang="en-IN" dirty="0"/>
            <a:t>Declarative</a:t>
          </a:r>
          <a:r>
            <a:rPr lang="en-IN" baseline="0" dirty="0"/>
            <a:t> container orchestration</a:t>
          </a:r>
          <a:endParaRPr lang="en-IN" dirty="0"/>
        </a:p>
      </dgm:t>
    </dgm:pt>
    <dgm:pt modelId="{1FD21AC6-D351-46FD-9539-39680A77307F}" type="parTrans" cxnId="{F891E5B9-B2E7-4613-899E-4DE1F35D7A13}">
      <dgm:prSet/>
      <dgm:spPr/>
      <dgm:t>
        <a:bodyPr/>
        <a:lstStyle/>
        <a:p>
          <a:endParaRPr lang="en-IN"/>
        </a:p>
      </dgm:t>
    </dgm:pt>
    <dgm:pt modelId="{232DF9E8-5D7D-4832-8752-08C8726E5C0F}" type="sibTrans" cxnId="{F891E5B9-B2E7-4613-899E-4DE1F35D7A13}">
      <dgm:prSet/>
      <dgm:spPr/>
      <dgm:t>
        <a:bodyPr/>
        <a:lstStyle/>
        <a:p>
          <a:endParaRPr lang="en-IN"/>
        </a:p>
      </dgm:t>
    </dgm:pt>
    <dgm:pt modelId="{C2EA1C42-0930-4ECD-8929-7F6600798E91}">
      <dgm:prSet phldrT="[Text]"/>
      <dgm:spPr/>
      <dgm:t>
        <a:bodyPr/>
        <a:lstStyle/>
        <a:p>
          <a:r>
            <a:rPr lang="en-IN" dirty="0"/>
            <a:t>Storage Automation</a:t>
          </a:r>
        </a:p>
      </dgm:t>
    </dgm:pt>
    <dgm:pt modelId="{1162B059-7566-4DB6-AE38-C75E5FB3D76C}" type="parTrans" cxnId="{18DD6E08-FA9B-4F8A-B291-71A14A139C61}">
      <dgm:prSet/>
      <dgm:spPr/>
      <dgm:t>
        <a:bodyPr/>
        <a:lstStyle/>
        <a:p>
          <a:endParaRPr lang="en-IN"/>
        </a:p>
      </dgm:t>
    </dgm:pt>
    <dgm:pt modelId="{A35C401C-BB94-49DD-BFFF-DBFA3904AF6B}" type="sibTrans" cxnId="{18DD6E08-FA9B-4F8A-B291-71A14A139C61}">
      <dgm:prSet/>
      <dgm:spPr/>
      <dgm:t>
        <a:bodyPr/>
        <a:lstStyle/>
        <a:p>
          <a:endParaRPr lang="en-IN"/>
        </a:p>
      </dgm:t>
    </dgm:pt>
    <dgm:pt modelId="{C6CDE167-DD38-4E57-8FEF-9D561A3EC747}">
      <dgm:prSet phldrT="[Text]"/>
      <dgm:spPr/>
      <dgm:t>
        <a:bodyPr/>
        <a:lstStyle/>
        <a:p>
          <a:r>
            <a:rPr lang="en-IN" dirty="0"/>
            <a:t>Service Discovery &amp; Load Balancing</a:t>
          </a:r>
        </a:p>
      </dgm:t>
    </dgm:pt>
    <dgm:pt modelId="{DFF29A93-B2CF-465C-AA6E-4462FEF615BD}" type="parTrans" cxnId="{1638C274-2193-47D2-88D7-6378060197FA}">
      <dgm:prSet/>
      <dgm:spPr/>
      <dgm:t>
        <a:bodyPr/>
        <a:lstStyle/>
        <a:p>
          <a:endParaRPr lang="en-IN"/>
        </a:p>
      </dgm:t>
    </dgm:pt>
    <dgm:pt modelId="{5FFE7BD9-861F-442F-985D-EDCF4CD6B8FD}" type="sibTrans" cxnId="{1638C274-2193-47D2-88D7-6378060197FA}">
      <dgm:prSet/>
      <dgm:spPr/>
      <dgm:t>
        <a:bodyPr/>
        <a:lstStyle/>
        <a:p>
          <a:endParaRPr lang="en-IN"/>
        </a:p>
      </dgm:t>
    </dgm:pt>
    <dgm:pt modelId="{D4E382A0-815A-4ACB-BEB6-28B69839D15E}">
      <dgm:prSet phldrT="[Text]"/>
      <dgm:spPr/>
      <dgm:t>
        <a:bodyPr/>
        <a:lstStyle/>
        <a:p>
          <a:r>
            <a:rPr lang="en-IN" dirty="0"/>
            <a:t>Rolling Updates and Rollbacks</a:t>
          </a:r>
        </a:p>
      </dgm:t>
    </dgm:pt>
    <dgm:pt modelId="{1449C22B-0432-4BA1-8A24-19F0C89AF948}" type="parTrans" cxnId="{FDA891B3-E67F-4D11-8E4D-62B06002674E}">
      <dgm:prSet/>
      <dgm:spPr/>
      <dgm:t>
        <a:bodyPr/>
        <a:lstStyle/>
        <a:p>
          <a:endParaRPr lang="en-IN"/>
        </a:p>
      </dgm:t>
    </dgm:pt>
    <dgm:pt modelId="{CADFC545-F7FA-429D-AB6D-C356F7B3B9DA}" type="sibTrans" cxnId="{FDA891B3-E67F-4D11-8E4D-62B06002674E}">
      <dgm:prSet/>
      <dgm:spPr/>
      <dgm:t>
        <a:bodyPr/>
        <a:lstStyle/>
        <a:p>
          <a:endParaRPr lang="en-IN"/>
        </a:p>
      </dgm:t>
    </dgm:pt>
    <dgm:pt modelId="{B118C6DE-50C3-43BF-A167-9BDF16906E25}">
      <dgm:prSet phldrT="[Text]"/>
      <dgm:spPr/>
      <dgm:t>
        <a:bodyPr/>
        <a:lstStyle/>
        <a:p>
          <a:r>
            <a:rPr lang="en-IN" dirty="0"/>
            <a:t>Multi Cloud &amp; On Prem Support</a:t>
          </a:r>
        </a:p>
      </dgm:t>
    </dgm:pt>
    <dgm:pt modelId="{BD2B1F44-CAF3-4067-A033-9C800C991E64}" type="parTrans" cxnId="{1F81FB6D-73DF-4196-82A6-31415EEC4097}">
      <dgm:prSet/>
      <dgm:spPr/>
      <dgm:t>
        <a:bodyPr/>
        <a:lstStyle/>
        <a:p>
          <a:endParaRPr lang="en-IN"/>
        </a:p>
      </dgm:t>
    </dgm:pt>
    <dgm:pt modelId="{7CB6581E-747D-424B-ACCA-2988FCC5B1D7}" type="sibTrans" cxnId="{1F81FB6D-73DF-4196-82A6-31415EEC4097}">
      <dgm:prSet/>
      <dgm:spPr/>
      <dgm:t>
        <a:bodyPr/>
        <a:lstStyle/>
        <a:p>
          <a:endParaRPr lang="en-IN"/>
        </a:p>
      </dgm:t>
    </dgm:pt>
    <dgm:pt modelId="{B86C6330-22CD-4580-877F-C24ACF75A0A8}">
      <dgm:prSet phldrT="[Text]"/>
      <dgm:spPr/>
      <dgm:t>
        <a:bodyPr/>
        <a:lstStyle/>
        <a:p>
          <a:r>
            <a:rPr lang="en-IN" dirty="0"/>
            <a:t>Auto Scale Features</a:t>
          </a:r>
        </a:p>
      </dgm:t>
    </dgm:pt>
    <dgm:pt modelId="{DFF629D4-7E31-4224-B397-10477A87F98A}" type="parTrans" cxnId="{802CAB60-AF82-4A50-AFA1-D014E32BF993}">
      <dgm:prSet/>
      <dgm:spPr/>
      <dgm:t>
        <a:bodyPr/>
        <a:lstStyle/>
        <a:p>
          <a:endParaRPr lang="en-IN"/>
        </a:p>
      </dgm:t>
    </dgm:pt>
    <dgm:pt modelId="{E14E3154-3DB6-4A1C-A027-A4740EFDCC33}" type="sibTrans" cxnId="{802CAB60-AF82-4A50-AFA1-D014E32BF993}">
      <dgm:prSet/>
      <dgm:spPr/>
      <dgm:t>
        <a:bodyPr/>
        <a:lstStyle/>
        <a:p>
          <a:endParaRPr lang="en-IN"/>
        </a:p>
      </dgm:t>
    </dgm:pt>
    <dgm:pt modelId="{9194CBD2-045D-4A9D-BC56-66B469200A16}" type="pres">
      <dgm:prSet presAssocID="{9873FC1F-A842-4E05-8346-8E50FF0929E5}" presName="Name0" presStyleCnt="0">
        <dgm:presLayoutVars>
          <dgm:chMax val="1"/>
          <dgm:chPref val="1"/>
          <dgm:dir/>
          <dgm:animOne val="branch"/>
          <dgm:animLvl val="lvl"/>
        </dgm:presLayoutVars>
      </dgm:prSet>
      <dgm:spPr/>
    </dgm:pt>
    <dgm:pt modelId="{1D33B473-6649-48BB-A0AC-326090673B07}" type="pres">
      <dgm:prSet presAssocID="{AC41D9E7-D05F-4311-A216-33D1E95CA0B5}" presName="Parent" presStyleLbl="node0" presStyleIdx="0" presStyleCnt="1">
        <dgm:presLayoutVars>
          <dgm:chMax val="6"/>
          <dgm:chPref val="6"/>
        </dgm:presLayoutVars>
      </dgm:prSet>
      <dgm:spPr/>
    </dgm:pt>
    <dgm:pt modelId="{EF9F6C28-273A-4307-BFB2-C3FC51BFAC3B}" type="pres">
      <dgm:prSet presAssocID="{4FB9C61B-28AA-4539-9007-B584224C191E}" presName="Accent1" presStyleCnt="0"/>
      <dgm:spPr/>
    </dgm:pt>
    <dgm:pt modelId="{6D95C869-336F-4176-9BBA-326359F44767}" type="pres">
      <dgm:prSet presAssocID="{4FB9C61B-28AA-4539-9007-B584224C191E}" presName="Accent" presStyleLbl="bgShp" presStyleIdx="0" presStyleCnt="6"/>
      <dgm:spPr/>
    </dgm:pt>
    <dgm:pt modelId="{23ED9A4C-47CB-4A21-A57D-40FF17C21327}" type="pres">
      <dgm:prSet presAssocID="{4FB9C61B-28AA-4539-9007-B584224C191E}" presName="Child1" presStyleLbl="node1" presStyleIdx="0" presStyleCnt="6">
        <dgm:presLayoutVars>
          <dgm:chMax val="0"/>
          <dgm:chPref val="0"/>
          <dgm:bulletEnabled val="1"/>
        </dgm:presLayoutVars>
      </dgm:prSet>
      <dgm:spPr/>
    </dgm:pt>
    <dgm:pt modelId="{22AD44FE-BBD9-4262-8984-2B9585C95629}" type="pres">
      <dgm:prSet presAssocID="{C2EA1C42-0930-4ECD-8929-7F6600798E91}" presName="Accent2" presStyleCnt="0"/>
      <dgm:spPr/>
    </dgm:pt>
    <dgm:pt modelId="{0546B1B5-A0A5-4C49-A120-BF70C7714AC8}" type="pres">
      <dgm:prSet presAssocID="{C2EA1C42-0930-4ECD-8929-7F6600798E91}" presName="Accent" presStyleLbl="bgShp" presStyleIdx="1" presStyleCnt="6"/>
      <dgm:spPr/>
    </dgm:pt>
    <dgm:pt modelId="{ECC00D13-AB26-4E3F-B95A-AF6181DFE22C}" type="pres">
      <dgm:prSet presAssocID="{C2EA1C42-0930-4ECD-8929-7F6600798E91}" presName="Child2" presStyleLbl="node1" presStyleIdx="1" presStyleCnt="6">
        <dgm:presLayoutVars>
          <dgm:chMax val="0"/>
          <dgm:chPref val="0"/>
          <dgm:bulletEnabled val="1"/>
        </dgm:presLayoutVars>
      </dgm:prSet>
      <dgm:spPr/>
    </dgm:pt>
    <dgm:pt modelId="{CEB792A5-52AA-4009-9203-7C67DCC7B878}" type="pres">
      <dgm:prSet presAssocID="{C6CDE167-DD38-4E57-8FEF-9D561A3EC747}" presName="Accent3" presStyleCnt="0"/>
      <dgm:spPr/>
    </dgm:pt>
    <dgm:pt modelId="{D7B416DA-A2F6-44D9-9EB8-47E35006FBF5}" type="pres">
      <dgm:prSet presAssocID="{C6CDE167-DD38-4E57-8FEF-9D561A3EC747}" presName="Accent" presStyleLbl="bgShp" presStyleIdx="2" presStyleCnt="6"/>
      <dgm:spPr/>
    </dgm:pt>
    <dgm:pt modelId="{8EFC96A6-E25E-4B30-B35A-13241F014051}" type="pres">
      <dgm:prSet presAssocID="{C6CDE167-DD38-4E57-8FEF-9D561A3EC747}" presName="Child3" presStyleLbl="node1" presStyleIdx="2" presStyleCnt="6">
        <dgm:presLayoutVars>
          <dgm:chMax val="0"/>
          <dgm:chPref val="0"/>
          <dgm:bulletEnabled val="1"/>
        </dgm:presLayoutVars>
      </dgm:prSet>
      <dgm:spPr/>
    </dgm:pt>
    <dgm:pt modelId="{09CCA993-ECE7-401E-96DA-02136DF69F97}" type="pres">
      <dgm:prSet presAssocID="{B86C6330-22CD-4580-877F-C24ACF75A0A8}" presName="Accent4" presStyleCnt="0"/>
      <dgm:spPr/>
    </dgm:pt>
    <dgm:pt modelId="{72D3EFE9-BCA1-4F09-82C6-46D24D18D5DF}" type="pres">
      <dgm:prSet presAssocID="{B86C6330-22CD-4580-877F-C24ACF75A0A8}" presName="Accent" presStyleLbl="bgShp" presStyleIdx="3" presStyleCnt="6"/>
      <dgm:spPr/>
    </dgm:pt>
    <dgm:pt modelId="{AAD38177-62E6-4FA0-94D8-7A9BEF66EF01}" type="pres">
      <dgm:prSet presAssocID="{B86C6330-22CD-4580-877F-C24ACF75A0A8}" presName="Child4" presStyleLbl="node1" presStyleIdx="3" presStyleCnt="6">
        <dgm:presLayoutVars>
          <dgm:chMax val="0"/>
          <dgm:chPref val="0"/>
          <dgm:bulletEnabled val="1"/>
        </dgm:presLayoutVars>
      </dgm:prSet>
      <dgm:spPr/>
    </dgm:pt>
    <dgm:pt modelId="{62DBC1B4-01AA-4689-BFAC-A92E4028E913}" type="pres">
      <dgm:prSet presAssocID="{D4E382A0-815A-4ACB-BEB6-28B69839D15E}" presName="Accent5" presStyleCnt="0"/>
      <dgm:spPr/>
    </dgm:pt>
    <dgm:pt modelId="{E4155B72-8091-4DE6-BD95-6390DC686660}" type="pres">
      <dgm:prSet presAssocID="{D4E382A0-815A-4ACB-BEB6-28B69839D15E}" presName="Accent" presStyleLbl="bgShp" presStyleIdx="4" presStyleCnt="6"/>
      <dgm:spPr/>
    </dgm:pt>
    <dgm:pt modelId="{9BDA3527-51F7-49CE-AE4E-D66AD856C1E6}" type="pres">
      <dgm:prSet presAssocID="{D4E382A0-815A-4ACB-BEB6-28B69839D15E}" presName="Child5" presStyleLbl="node1" presStyleIdx="4" presStyleCnt="6">
        <dgm:presLayoutVars>
          <dgm:chMax val="0"/>
          <dgm:chPref val="0"/>
          <dgm:bulletEnabled val="1"/>
        </dgm:presLayoutVars>
      </dgm:prSet>
      <dgm:spPr/>
    </dgm:pt>
    <dgm:pt modelId="{820FD012-9779-4362-8CDB-1669819880E6}" type="pres">
      <dgm:prSet presAssocID="{B118C6DE-50C3-43BF-A167-9BDF16906E25}" presName="Accent6" presStyleCnt="0"/>
      <dgm:spPr/>
    </dgm:pt>
    <dgm:pt modelId="{CC3150F3-20C1-4714-8652-CBA302326152}" type="pres">
      <dgm:prSet presAssocID="{B118C6DE-50C3-43BF-A167-9BDF16906E25}" presName="Accent" presStyleLbl="bgShp" presStyleIdx="5" presStyleCnt="6"/>
      <dgm:spPr/>
    </dgm:pt>
    <dgm:pt modelId="{8A79CE8C-7719-4E2E-8D2B-077FA133BFA0}" type="pres">
      <dgm:prSet presAssocID="{B118C6DE-50C3-43BF-A167-9BDF16906E25}" presName="Child6" presStyleLbl="node1" presStyleIdx="5" presStyleCnt="6">
        <dgm:presLayoutVars>
          <dgm:chMax val="0"/>
          <dgm:chPref val="0"/>
          <dgm:bulletEnabled val="1"/>
        </dgm:presLayoutVars>
      </dgm:prSet>
      <dgm:spPr/>
    </dgm:pt>
  </dgm:ptLst>
  <dgm:cxnLst>
    <dgm:cxn modelId="{18DD6E08-FA9B-4F8A-B291-71A14A139C61}" srcId="{AC41D9E7-D05F-4311-A216-33D1E95CA0B5}" destId="{C2EA1C42-0930-4ECD-8929-7F6600798E91}" srcOrd="1" destOrd="0" parTransId="{1162B059-7566-4DB6-AE38-C75E5FB3D76C}" sibTransId="{A35C401C-BB94-49DD-BFFF-DBFA3904AF6B}"/>
    <dgm:cxn modelId="{94F2D70D-448E-4C9E-B905-36C3996DA396}" type="presOf" srcId="{B86C6330-22CD-4580-877F-C24ACF75A0A8}" destId="{AAD38177-62E6-4FA0-94D8-7A9BEF66EF01}" srcOrd="0" destOrd="0" presId="urn:microsoft.com/office/officeart/2011/layout/HexagonRadial"/>
    <dgm:cxn modelId="{802CAB60-AF82-4A50-AFA1-D014E32BF993}" srcId="{AC41D9E7-D05F-4311-A216-33D1E95CA0B5}" destId="{B86C6330-22CD-4580-877F-C24ACF75A0A8}" srcOrd="3" destOrd="0" parTransId="{DFF629D4-7E31-4224-B397-10477A87F98A}" sibTransId="{E14E3154-3DB6-4A1C-A027-A4740EFDCC33}"/>
    <dgm:cxn modelId="{8F39D861-5B96-4AF0-A923-4645E44D8445}" type="presOf" srcId="{C2EA1C42-0930-4ECD-8929-7F6600798E91}" destId="{ECC00D13-AB26-4E3F-B95A-AF6181DFE22C}" srcOrd="0" destOrd="0" presId="urn:microsoft.com/office/officeart/2011/layout/HexagonRadial"/>
    <dgm:cxn modelId="{85D77C49-3F61-4EE5-9D9B-32ACA94CE6AB}" type="presOf" srcId="{D4E382A0-815A-4ACB-BEB6-28B69839D15E}" destId="{9BDA3527-51F7-49CE-AE4E-D66AD856C1E6}" srcOrd="0" destOrd="0" presId="urn:microsoft.com/office/officeart/2011/layout/HexagonRadial"/>
    <dgm:cxn modelId="{1F81FB6D-73DF-4196-82A6-31415EEC4097}" srcId="{AC41D9E7-D05F-4311-A216-33D1E95CA0B5}" destId="{B118C6DE-50C3-43BF-A167-9BDF16906E25}" srcOrd="5" destOrd="0" parTransId="{BD2B1F44-CAF3-4067-A033-9C800C991E64}" sibTransId="{7CB6581E-747D-424B-ACCA-2988FCC5B1D7}"/>
    <dgm:cxn modelId="{2BBB7253-3CBE-4A2D-808F-4284C9E0FAC1}" type="presOf" srcId="{4FB9C61B-28AA-4539-9007-B584224C191E}" destId="{23ED9A4C-47CB-4A21-A57D-40FF17C21327}" srcOrd="0" destOrd="0" presId="urn:microsoft.com/office/officeart/2011/layout/HexagonRadial"/>
    <dgm:cxn modelId="{1638C274-2193-47D2-88D7-6378060197FA}" srcId="{AC41D9E7-D05F-4311-A216-33D1E95CA0B5}" destId="{C6CDE167-DD38-4E57-8FEF-9D561A3EC747}" srcOrd="2" destOrd="0" parTransId="{DFF29A93-B2CF-465C-AA6E-4462FEF615BD}" sibTransId="{5FFE7BD9-861F-442F-985D-EDCF4CD6B8FD}"/>
    <dgm:cxn modelId="{8B3ABA59-4754-4D87-B62A-18713A92A7D7}" srcId="{9873FC1F-A842-4E05-8346-8E50FF0929E5}" destId="{AC41D9E7-D05F-4311-A216-33D1E95CA0B5}" srcOrd="0" destOrd="0" parTransId="{C847DAB4-2A99-4D2D-A3B4-2587164A9526}" sibTransId="{2B785437-BA9A-48C5-9874-8F92286C6364}"/>
    <dgm:cxn modelId="{23C819A2-BE08-4BB5-B329-4095774BCFC5}" type="presOf" srcId="{9873FC1F-A842-4E05-8346-8E50FF0929E5}" destId="{9194CBD2-045D-4A9D-BC56-66B469200A16}" srcOrd="0" destOrd="0" presId="urn:microsoft.com/office/officeart/2011/layout/HexagonRadial"/>
    <dgm:cxn modelId="{FDA891B3-E67F-4D11-8E4D-62B06002674E}" srcId="{AC41D9E7-D05F-4311-A216-33D1E95CA0B5}" destId="{D4E382A0-815A-4ACB-BEB6-28B69839D15E}" srcOrd="4" destOrd="0" parTransId="{1449C22B-0432-4BA1-8A24-19F0C89AF948}" sibTransId="{CADFC545-F7FA-429D-AB6D-C356F7B3B9DA}"/>
    <dgm:cxn modelId="{F891E5B9-B2E7-4613-899E-4DE1F35D7A13}" srcId="{AC41D9E7-D05F-4311-A216-33D1E95CA0B5}" destId="{4FB9C61B-28AA-4539-9007-B584224C191E}" srcOrd="0" destOrd="0" parTransId="{1FD21AC6-D351-46FD-9539-39680A77307F}" sibTransId="{232DF9E8-5D7D-4832-8752-08C8726E5C0F}"/>
    <dgm:cxn modelId="{484D4BCE-3F63-43A0-B8CF-A73C03B695B2}" type="presOf" srcId="{C6CDE167-DD38-4E57-8FEF-9D561A3EC747}" destId="{8EFC96A6-E25E-4B30-B35A-13241F014051}" srcOrd="0" destOrd="0" presId="urn:microsoft.com/office/officeart/2011/layout/HexagonRadial"/>
    <dgm:cxn modelId="{7ABA85DB-8F33-46AD-9912-58EAC285A837}" type="presOf" srcId="{B118C6DE-50C3-43BF-A167-9BDF16906E25}" destId="{8A79CE8C-7719-4E2E-8D2B-077FA133BFA0}" srcOrd="0" destOrd="0" presId="urn:microsoft.com/office/officeart/2011/layout/HexagonRadial"/>
    <dgm:cxn modelId="{E8B020ED-80C2-471F-AA28-54A4BC82867C}" type="presOf" srcId="{AC41D9E7-D05F-4311-A216-33D1E95CA0B5}" destId="{1D33B473-6649-48BB-A0AC-326090673B07}" srcOrd="0" destOrd="0" presId="urn:microsoft.com/office/officeart/2011/layout/HexagonRadial"/>
    <dgm:cxn modelId="{2F3E102F-472D-40B7-AF39-6C6C7B575FB9}" type="presParOf" srcId="{9194CBD2-045D-4A9D-BC56-66B469200A16}" destId="{1D33B473-6649-48BB-A0AC-326090673B07}" srcOrd="0" destOrd="0" presId="urn:microsoft.com/office/officeart/2011/layout/HexagonRadial"/>
    <dgm:cxn modelId="{07AF8F08-ECB0-4CB5-85FA-E56948571858}" type="presParOf" srcId="{9194CBD2-045D-4A9D-BC56-66B469200A16}" destId="{EF9F6C28-273A-4307-BFB2-C3FC51BFAC3B}" srcOrd="1" destOrd="0" presId="urn:microsoft.com/office/officeart/2011/layout/HexagonRadial"/>
    <dgm:cxn modelId="{D01E6964-1D41-4E8D-A51C-96C1DD046FE7}" type="presParOf" srcId="{EF9F6C28-273A-4307-BFB2-C3FC51BFAC3B}" destId="{6D95C869-336F-4176-9BBA-326359F44767}" srcOrd="0" destOrd="0" presId="urn:microsoft.com/office/officeart/2011/layout/HexagonRadial"/>
    <dgm:cxn modelId="{FFB5FE79-06EB-4573-B8D6-2069A21FBDD7}" type="presParOf" srcId="{9194CBD2-045D-4A9D-BC56-66B469200A16}" destId="{23ED9A4C-47CB-4A21-A57D-40FF17C21327}" srcOrd="2" destOrd="0" presId="urn:microsoft.com/office/officeart/2011/layout/HexagonRadial"/>
    <dgm:cxn modelId="{15FEA2C0-C653-463D-A7DF-85E304E26FD9}" type="presParOf" srcId="{9194CBD2-045D-4A9D-BC56-66B469200A16}" destId="{22AD44FE-BBD9-4262-8984-2B9585C95629}" srcOrd="3" destOrd="0" presId="urn:microsoft.com/office/officeart/2011/layout/HexagonRadial"/>
    <dgm:cxn modelId="{39FCC042-D8CE-4CB5-BB84-F9FCE7E58D1B}" type="presParOf" srcId="{22AD44FE-BBD9-4262-8984-2B9585C95629}" destId="{0546B1B5-A0A5-4C49-A120-BF70C7714AC8}" srcOrd="0" destOrd="0" presId="urn:microsoft.com/office/officeart/2011/layout/HexagonRadial"/>
    <dgm:cxn modelId="{128FADA7-B543-422F-8C54-A89C6FDEB919}" type="presParOf" srcId="{9194CBD2-045D-4A9D-BC56-66B469200A16}" destId="{ECC00D13-AB26-4E3F-B95A-AF6181DFE22C}" srcOrd="4" destOrd="0" presId="urn:microsoft.com/office/officeart/2011/layout/HexagonRadial"/>
    <dgm:cxn modelId="{7FBB061D-4796-48C5-B5B2-6F14E8D34EAD}" type="presParOf" srcId="{9194CBD2-045D-4A9D-BC56-66B469200A16}" destId="{CEB792A5-52AA-4009-9203-7C67DCC7B878}" srcOrd="5" destOrd="0" presId="urn:microsoft.com/office/officeart/2011/layout/HexagonRadial"/>
    <dgm:cxn modelId="{6F03ADB9-C4D3-4D62-9018-3D6013B6B5F2}" type="presParOf" srcId="{CEB792A5-52AA-4009-9203-7C67DCC7B878}" destId="{D7B416DA-A2F6-44D9-9EB8-47E35006FBF5}" srcOrd="0" destOrd="0" presId="urn:microsoft.com/office/officeart/2011/layout/HexagonRadial"/>
    <dgm:cxn modelId="{05FC2C2B-681D-40E9-BE85-A9EBD06152C2}" type="presParOf" srcId="{9194CBD2-045D-4A9D-BC56-66B469200A16}" destId="{8EFC96A6-E25E-4B30-B35A-13241F014051}" srcOrd="6" destOrd="0" presId="urn:microsoft.com/office/officeart/2011/layout/HexagonRadial"/>
    <dgm:cxn modelId="{59BB4A96-D3B5-448F-BBA2-105C9862D24A}" type="presParOf" srcId="{9194CBD2-045D-4A9D-BC56-66B469200A16}" destId="{09CCA993-ECE7-401E-96DA-02136DF69F97}" srcOrd="7" destOrd="0" presId="urn:microsoft.com/office/officeart/2011/layout/HexagonRadial"/>
    <dgm:cxn modelId="{CE2E8A29-87B0-4D10-8F5D-8A243E645032}" type="presParOf" srcId="{09CCA993-ECE7-401E-96DA-02136DF69F97}" destId="{72D3EFE9-BCA1-4F09-82C6-46D24D18D5DF}" srcOrd="0" destOrd="0" presId="urn:microsoft.com/office/officeart/2011/layout/HexagonRadial"/>
    <dgm:cxn modelId="{B09213DF-7B76-4EE4-A8AD-5CA83C1CB6C9}" type="presParOf" srcId="{9194CBD2-045D-4A9D-BC56-66B469200A16}" destId="{AAD38177-62E6-4FA0-94D8-7A9BEF66EF01}" srcOrd="8" destOrd="0" presId="urn:microsoft.com/office/officeart/2011/layout/HexagonRadial"/>
    <dgm:cxn modelId="{D56F7F1B-F9DA-4AE6-A0DE-EB559B1E5517}" type="presParOf" srcId="{9194CBD2-045D-4A9D-BC56-66B469200A16}" destId="{62DBC1B4-01AA-4689-BFAC-A92E4028E913}" srcOrd="9" destOrd="0" presId="urn:microsoft.com/office/officeart/2011/layout/HexagonRadial"/>
    <dgm:cxn modelId="{D09E8E1A-2A83-47AA-A70A-997C7A151DA0}" type="presParOf" srcId="{62DBC1B4-01AA-4689-BFAC-A92E4028E913}" destId="{E4155B72-8091-4DE6-BD95-6390DC686660}" srcOrd="0" destOrd="0" presId="urn:microsoft.com/office/officeart/2011/layout/HexagonRadial"/>
    <dgm:cxn modelId="{5E2ACE5C-5F34-43C9-B4F8-F8EE3586A05B}" type="presParOf" srcId="{9194CBD2-045D-4A9D-BC56-66B469200A16}" destId="{9BDA3527-51F7-49CE-AE4E-D66AD856C1E6}" srcOrd="10" destOrd="0" presId="urn:microsoft.com/office/officeart/2011/layout/HexagonRadial"/>
    <dgm:cxn modelId="{44BC26B1-657C-4482-AE0C-D83AF2730955}" type="presParOf" srcId="{9194CBD2-045D-4A9D-BC56-66B469200A16}" destId="{820FD012-9779-4362-8CDB-1669819880E6}" srcOrd="11" destOrd="0" presId="urn:microsoft.com/office/officeart/2011/layout/HexagonRadial"/>
    <dgm:cxn modelId="{F2367664-5E2B-4644-8A01-03174CFA490F}" type="presParOf" srcId="{820FD012-9779-4362-8CDB-1669819880E6}" destId="{CC3150F3-20C1-4714-8652-CBA302326152}" srcOrd="0" destOrd="0" presId="urn:microsoft.com/office/officeart/2011/layout/HexagonRadial"/>
    <dgm:cxn modelId="{E53F8689-4104-4438-8C11-25D2AD4F468C}" type="presParOf" srcId="{9194CBD2-045D-4A9D-BC56-66B469200A16}" destId="{8A79CE8C-7719-4E2E-8D2B-077FA133BFA0}" srcOrd="12" destOrd="0" presId="urn:microsoft.com/office/officeart/2011/layout/HexagonRadial"/>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D91852E-383B-4896-9C23-D9C901179F69}" type="doc">
      <dgm:prSet loTypeId="urn:microsoft.com/office/officeart/2011/layout/TabList" loCatId="list" qsTypeId="urn:microsoft.com/office/officeart/2005/8/quickstyle/simple1" qsCatId="simple" csTypeId="urn:microsoft.com/office/officeart/2005/8/colors/accent2_2" csCatId="accent2" phldr="1"/>
      <dgm:spPr/>
      <dgm:t>
        <a:bodyPr/>
        <a:lstStyle/>
        <a:p>
          <a:endParaRPr lang="en-IN"/>
        </a:p>
      </dgm:t>
    </dgm:pt>
    <dgm:pt modelId="{BA02106F-8D3E-4F69-9F94-E3D76A797A35}">
      <dgm:prSet phldrT="[Text]"/>
      <dgm:spPr/>
      <dgm:t>
        <a:bodyPr/>
        <a:lstStyle/>
        <a:p>
          <a:r>
            <a:rPr lang="en-IN" dirty="0"/>
            <a:t>Node</a:t>
          </a:r>
        </a:p>
      </dgm:t>
    </dgm:pt>
    <dgm:pt modelId="{26B54867-FBEC-4DDD-A1BF-7AB10B0415C2}" type="parTrans" cxnId="{500C9529-3147-4D5D-9558-7FAC68DCBCAA}">
      <dgm:prSet/>
      <dgm:spPr/>
      <dgm:t>
        <a:bodyPr/>
        <a:lstStyle/>
        <a:p>
          <a:endParaRPr lang="en-IN"/>
        </a:p>
      </dgm:t>
    </dgm:pt>
    <dgm:pt modelId="{D1E5EB83-8BC7-4DE8-9017-3E3BC6E6D471}" type="sibTrans" cxnId="{500C9529-3147-4D5D-9558-7FAC68DCBCAA}">
      <dgm:prSet/>
      <dgm:spPr/>
      <dgm:t>
        <a:bodyPr/>
        <a:lstStyle/>
        <a:p>
          <a:endParaRPr lang="en-IN"/>
        </a:p>
      </dgm:t>
    </dgm:pt>
    <dgm:pt modelId="{1EEF9715-AA49-4084-8EE5-A909BF2FC24C}">
      <dgm:prSet phldrT="[Text]"/>
      <dgm:spPr/>
      <dgm:t>
        <a:bodyPr/>
        <a:lstStyle/>
        <a:p>
          <a:r>
            <a:rPr lang="en-IN" dirty="0"/>
            <a:t>Cluster</a:t>
          </a:r>
        </a:p>
      </dgm:t>
    </dgm:pt>
    <dgm:pt modelId="{555DCDA7-1F87-422E-87B5-9BEE8BB6BCFE}" type="parTrans" cxnId="{4088845E-285D-4468-BB5F-E048FE4B1D2B}">
      <dgm:prSet/>
      <dgm:spPr/>
      <dgm:t>
        <a:bodyPr/>
        <a:lstStyle/>
        <a:p>
          <a:endParaRPr lang="en-IN"/>
        </a:p>
      </dgm:t>
    </dgm:pt>
    <dgm:pt modelId="{35997440-BED9-40B0-8B34-B7E7B551A4E7}" type="sibTrans" cxnId="{4088845E-285D-4468-BB5F-E048FE4B1D2B}">
      <dgm:prSet/>
      <dgm:spPr/>
      <dgm:t>
        <a:bodyPr/>
        <a:lstStyle/>
        <a:p>
          <a:endParaRPr lang="en-IN"/>
        </a:p>
      </dgm:t>
    </dgm:pt>
    <dgm:pt modelId="{0937EB2D-ECB9-4369-AC3A-F6F1DBA57EBA}">
      <dgm:prSet phldrT="[Text]"/>
      <dgm:spPr/>
      <dgm:t>
        <a:bodyPr/>
        <a:lstStyle/>
        <a:p>
          <a:endParaRPr lang="en-IN" dirty="0"/>
        </a:p>
      </dgm:t>
    </dgm:pt>
    <dgm:pt modelId="{8D02F50E-2601-4425-8306-854FA2CFAFA0}" type="parTrans" cxnId="{4CCA8F2B-7DF0-46D5-A451-1F7CC6E24073}">
      <dgm:prSet/>
      <dgm:spPr/>
      <dgm:t>
        <a:bodyPr/>
        <a:lstStyle/>
        <a:p>
          <a:endParaRPr lang="en-IN"/>
        </a:p>
      </dgm:t>
    </dgm:pt>
    <dgm:pt modelId="{0B813464-D0A4-4C80-8F17-F434B2E607F5}" type="sibTrans" cxnId="{4CCA8F2B-7DF0-46D5-A451-1F7CC6E24073}">
      <dgm:prSet/>
      <dgm:spPr/>
      <dgm:t>
        <a:bodyPr/>
        <a:lstStyle/>
        <a:p>
          <a:endParaRPr lang="en-IN"/>
        </a:p>
      </dgm:t>
    </dgm:pt>
    <dgm:pt modelId="{73373CBA-AB8C-474F-8275-8BFBBA32DCDA}">
      <dgm:prSet phldrT="[Text]"/>
      <dgm:spPr/>
      <dgm:t>
        <a:bodyPr/>
        <a:lstStyle/>
        <a:p>
          <a:pPr>
            <a:buNone/>
          </a:pPr>
          <a:r>
            <a:rPr lang="en-US" dirty="0">
              <a:solidFill>
                <a:schemeClr val="tx2"/>
              </a:solidFill>
            </a:rPr>
            <a:t>A Kubernetes cluster is a set of nodes that work together to run and manage containerized applications. It consists of worker nodes (where applications run) and a control plane (which manages the cluster).</a:t>
          </a:r>
          <a:endParaRPr lang="en-IN" dirty="0">
            <a:solidFill>
              <a:schemeClr val="tx2"/>
            </a:solidFill>
          </a:endParaRPr>
        </a:p>
      </dgm:t>
    </dgm:pt>
    <dgm:pt modelId="{8999A739-0370-452A-A800-B686E8B3C712}" type="parTrans" cxnId="{4B78C8B3-AA8F-4050-9C9D-526097FAB113}">
      <dgm:prSet/>
      <dgm:spPr/>
      <dgm:t>
        <a:bodyPr/>
        <a:lstStyle/>
        <a:p>
          <a:endParaRPr lang="en-IN"/>
        </a:p>
      </dgm:t>
    </dgm:pt>
    <dgm:pt modelId="{499F577B-E4F2-4E67-A1B6-5D1F13B755C0}" type="sibTrans" cxnId="{4B78C8B3-AA8F-4050-9C9D-526097FAB113}">
      <dgm:prSet/>
      <dgm:spPr/>
      <dgm:t>
        <a:bodyPr/>
        <a:lstStyle/>
        <a:p>
          <a:endParaRPr lang="en-IN"/>
        </a:p>
      </dgm:t>
    </dgm:pt>
    <dgm:pt modelId="{5CD346A4-DCBF-4EA1-B2B9-C8DEEB7729EE}">
      <dgm:prSet phldrT="[Text]"/>
      <dgm:spPr/>
      <dgm:t>
        <a:bodyPr/>
        <a:lstStyle/>
        <a:p>
          <a:r>
            <a:rPr lang="en-IN" dirty="0"/>
            <a:t>Pods</a:t>
          </a:r>
        </a:p>
      </dgm:t>
    </dgm:pt>
    <dgm:pt modelId="{35FB2DAE-4FA0-4316-8942-223A841982B0}" type="parTrans" cxnId="{4DC2AD17-370F-41F8-A13B-572452FD5A7D}">
      <dgm:prSet/>
      <dgm:spPr/>
      <dgm:t>
        <a:bodyPr/>
        <a:lstStyle/>
        <a:p>
          <a:endParaRPr lang="en-IN"/>
        </a:p>
      </dgm:t>
    </dgm:pt>
    <dgm:pt modelId="{CAEBB828-684E-4E9E-98FB-9835E5DA6940}" type="sibTrans" cxnId="{4DC2AD17-370F-41F8-A13B-572452FD5A7D}">
      <dgm:prSet/>
      <dgm:spPr/>
      <dgm:t>
        <a:bodyPr/>
        <a:lstStyle/>
        <a:p>
          <a:endParaRPr lang="en-IN"/>
        </a:p>
      </dgm:t>
    </dgm:pt>
    <dgm:pt modelId="{F83395FF-14CC-4B55-8BEA-6961D58620BB}">
      <dgm:prSet phldrT="[Text]"/>
      <dgm:spPr/>
      <dgm:t>
        <a:bodyPr/>
        <a:lstStyle/>
        <a:p>
          <a:endParaRPr lang="en-IN" dirty="0"/>
        </a:p>
      </dgm:t>
    </dgm:pt>
    <dgm:pt modelId="{94DD9EA6-C2F1-4DBF-8705-5BBD0852C7C4}" type="parTrans" cxnId="{6AB091A5-F8E5-4A57-9132-33D76566A19B}">
      <dgm:prSet/>
      <dgm:spPr/>
      <dgm:t>
        <a:bodyPr/>
        <a:lstStyle/>
        <a:p>
          <a:endParaRPr lang="en-IN"/>
        </a:p>
      </dgm:t>
    </dgm:pt>
    <dgm:pt modelId="{46026156-C8F3-4A82-BAC6-F51B96AD38F3}" type="sibTrans" cxnId="{6AB091A5-F8E5-4A57-9132-33D76566A19B}">
      <dgm:prSet/>
      <dgm:spPr/>
      <dgm:t>
        <a:bodyPr/>
        <a:lstStyle/>
        <a:p>
          <a:endParaRPr lang="en-IN"/>
        </a:p>
      </dgm:t>
    </dgm:pt>
    <dgm:pt modelId="{A8F1A0D6-C92A-4B82-9C4F-D045218FE45B}">
      <dgm:prSet phldrT="[Text]"/>
      <dgm:spPr/>
      <dgm:t>
        <a:bodyPr/>
        <a:lstStyle/>
        <a:p>
          <a:pPr>
            <a:buFont typeface="Arial" panose="020B0604020202020204" pitchFamily="34" charset="0"/>
            <a:buNone/>
          </a:pPr>
          <a:r>
            <a:rPr lang="en-US" dirty="0">
              <a:solidFill>
                <a:schemeClr val="tx2"/>
              </a:solidFill>
            </a:rPr>
            <a:t>A Pod is the smallest deployable unit in Kubernetes. It represents one or more containers that share storage, networking, and configuration.</a:t>
          </a:r>
          <a:endParaRPr lang="en-IN" dirty="0">
            <a:solidFill>
              <a:schemeClr val="tx2"/>
            </a:solidFill>
          </a:endParaRPr>
        </a:p>
      </dgm:t>
    </dgm:pt>
    <dgm:pt modelId="{34E7437B-92F8-4511-9E65-EBCD740550AF}" type="parTrans" cxnId="{9A1E0907-905D-4D37-8ED0-F7648D3DF675}">
      <dgm:prSet/>
      <dgm:spPr/>
      <dgm:t>
        <a:bodyPr/>
        <a:lstStyle/>
        <a:p>
          <a:endParaRPr lang="en-IN"/>
        </a:p>
      </dgm:t>
    </dgm:pt>
    <dgm:pt modelId="{4F5C9EFF-450E-475A-9B5D-4B1E59B171B8}" type="sibTrans" cxnId="{9A1E0907-905D-4D37-8ED0-F7648D3DF675}">
      <dgm:prSet/>
      <dgm:spPr/>
      <dgm:t>
        <a:bodyPr/>
        <a:lstStyle/>
        <a:p>
          <a:endParaRPr lang="en-IN"/>
        </a:p>
      </dgm:t>
    </dgm:pt>
    <dgm:pt modelId="{4DFEAC23-1A6C-46DB-BA0E-40B746C55F43}">
      <dgm:prSet phldrT="[Text]"/>
      <dgm:spPr/>
      <dgm:t>
        <a:bodyPr/>
        <a:lstStyle/>
        <a:p>
          <a:r>
            <a:rPr lang="en-IN" dirty="0"/>
            <a:t>Control</a:t>
          </a:r>
          <a:r>
            <a:rPr lang="en-IN" baseline="0" dirty="0"/>
            <a:t> Plane</a:t>
          </a:r>
          <a:endParaRPr lang="en-IN" dirty="0"/>
        </a:p>
      </dgm:t>
    </dgm:pt>
    <dgm:pt modelId="{C0179E8A-A514-470D-895E-84A599546B0D}" type="parTrans" cxnId="{953516ED-8205-49C7-BBF3-38E509849AD0}">
      <dgm:prSet/>
      <dgm:spPr/>
      <dgm:t>
        <a:bodyPr/>
        <a:lstStyle/>
        <a:p>
          <a:endParaRPr lang="en-IN"/>
        </a:p>
      </dgm:t>
    </dgm:pt>
    <dgm:pt modelId="{A6EB2253-010C-4D36-8414-9B6C713BB2FD}" type="sibTrans" cxnId="{953516ED-8205-49C7-BBF3-38E509849AD0}">
      <dgm:prSet/>
      <dgm:spPr/>
      <dgm:t>
        <a:bodyPr/>
        <a:lstStyle/>
        <a:p>
          <a:endParaRPr lang="en-IN"/>
        </a:p>
      </dgm:t>
    </dgm:pt>
    <dgm:pt modelId="{EB9A41E1-2841-4E03-AD59-8F887F3990AD}">
      <dgm:prSet phldrT="[Text]"/>
      <dgm:spPr/>
      <dgm:t>
        <a:bodyPr/>
        <a:lstStyle/>
        <a:p>
          <a:r>
            <a:rPr lang="en-IN" dirty="0"/>
            <a:t>Deployment</a:t>
          </a:r>
        </a:p>
      </dgm:t>
    </dgm:pt>
    <dgm:pt modelId="{772FCA04-56DA-47FA-95C5-4ACD1CCA0856}" type="parTrans" cxnId="{EBC217FD-1724-4599-B6BC-AD4B605B5456}">
      <dgm:prSet/>
      <dgm:spPr/>
      <dgm:t>
        <a:bodyPr/>
        <a:lstStyle/>
        <a:p>
          <a:endParaRPr lang="en-IN"/>
        </a:p>
      </dgm:t>
    </dgm:pt>
    <dgm:pt modelId="{A4F74022-35B3-43D6-AD90-BB0C369DEDB7}" type="sibTrans" cxnId="{EBC217FD-1724-4599-B6BC-AD4B605B5456}">
      <dgm:prSet/>
      <dgm:spPr/>
      <dgm:t>
        <a:bodyPr/>
        <a:lstStyle/>
        <a:p>
          <a:endParaRPr lang="en-IN"/>
        </a:p>
      </dgm:t>
    </dgm:pt>
    <dgm:pt modelId="{AF242455-2542-4E63-AB4E-75B55039152A}">
      <dgm:prSet phldrT="[Text]"/>
      <dgm:spPr/>
      <dgm:t>
        <a:bodyPr/>
        <a:lstStyle/>
        <a:p>
          <a:pPr>
            <a:buFontTx/>
            <a:buNone/>
          </a:pPr>
          <a:r>
            <a:rPr lang="en-US" dirty="0">
              <a:solidFill>
                <a:schemeClr val="tx2"/>
              </a:solidFill>
            </a:rPr>
            <a:t>A Kubernetes Node is a worker machine (virtual or physical) where containers run. Nodes are managed by the Kubernetes Control Plane and are responsible for running Pods.</a:t>
          </a:r>
          <a:endParaRPr lang="en-IN" dirty="0">
            <a:solidFill>
              <a:schemeClr val="tx2"/>
            </a:solidFill>
          </a:endParaRPr>
        </a:p>
      </dgm:t>
    </dgm:pt>
    <dgm:pt modelId="{7E17D2E3-16CB-4608-9022-B5C56836BEC1}" type="parTrans" cxnId="{8F253C51-49B1-47F0-B30A-53FE8835A93F}">
      <dgm:prSet/>
      <dgm:spPr/>
      <dgm:t>
        <a:bodyPr/>
        <a:lstStyle/>
        <a:p>
          <a:endParaRPr lang="en-IN"/>
        </a:p>
      </dgm:t>
    </dgm:pt>
    <dgm:pt modelId="{BE5CB55F-1BE2-4DF5-86C1-3FE51086B39F}" type="sibTrans" cxnId="{8F253C51-49B1-47F0-B30A-53FE8835A93F}">
      <dgm:prSet/>
      <dgm:spPr/>
      <dgm:t>
        <a:bodyPr/>
        <a:lstStyle/>
        <a:p>
          <a:endParaRPr lang="en-IN"/>
        </a:p>
      </dgm:t>
    </dgm:pt>
    <dgm:pt modelId="{D5C03E19-C88F-491B-9BA3-EB242D84EABD}">
      <dgm:prSet phldrT="[Text]"/>
      <dgm:spPr/>
      <dgm:t>
        <a:bodyPr/>
        <a:lstStyle/>
        <a:p>
          <a:endParaRPr lang="en-IN" dirty="0"/>
        </a:p>
      </dgm:t>
    </dgm:pt>
    <dgm:pt modelId="{A929E578-0EA6-4792-B301-FFA872EE18A8}" type="parTrans" cxnId="{CF452BB3-7CA9-46A1-9C07-807C35B6A056}">
      <dgm:prSet/>
      <dgm:spPr/>
      <dgm:t>
        <a:bodyPr/>
        <a:lstStyle/>
        <a:p>
          <a:endParaRPr lang="en-IN"/>
        </a:p>
      </dgm:t>
    </dgm:pt>
    <dgm:pt modelId="{898B8B0A-83FA-4015-A132-725384AE5EB3}" type="sibTrans" cxnId="{CF452BB3-7CA9-46A1-9C07-807C35B6A056}">
      <dgm:prSet/>
      <dgm:spPr/>
      <dgm:t>
        <a:bodyPr/>
        <a:lstStyle/>
        <a:p>
          <a:endParaRPr lang="en-IN"/>
        </a:p>
      </dgm:t>
    </dgm:pt>
    <dgm:pt modelId="{EF4D49F1-98BE-4AE7-A412-6B82FEA1F911}">
      <dgm:prSet phldrT="[Text]"/>
      <dgm:spPr/>
      <dgm:t>
        <a:bodyPr/>
        <a:lstStyle/>
        <a:p>
          <a:pPr>
            <a:buNone/>
          </a:pPr>
          <a:r>
            <a:rPr lang="en-US" dirty="0">
              <a:solidFill>
                <a:schemeClr val="tx2"/>
              </a:solidFill>
            </a:rPr>
            <a:t>The Kubernetes Control Plane is the brain of the cluster. It manages and orchestrates all cluster operations, ensuring workloads run efficiently on worker nodes.</a:t>
          </a:r>
          <a:endParaRPr lang="en-IN" dirty="0">
            <a:solidFill>
              <a:schemeClr val="tx2"/>
            </a:solidFill>
          </a:endParaRPr>
        </a:p>
      </dgm:t>
    </dgm:pt>
    <dgm:pt modelId="{4DA4A2F4-2C56-418F-A23C-BC605F8C89EF}" type="parTrans" cxnId="{A123525F-DD0E-4478-B271-21744AE21550}">
      <dgm:prSet/>
      <dgm:spPr/>
      <dgm:t>
        <a:bodyPr/>
        <a:lstStyle/>
        <a:p>
          <a:endParaRPr lang="en-IN"/>
        </a:p>
      </dgm:t>
    </dgm:pt>
    <dgm:pt modelId="{EF2E0F93-6899-49B5-AA42-B7CAE8D8DA8B}" type="sibTrans" cxnId="{A123525F-DD0E-4478-B271-21744AE21550}">
      <dgm:prSet/>
      <dgm:spPr/>
      <dgm:t>
        <a:bodyPr/>
        <a:lstStyle/>
        <a:p>
          <a:endParaRPr lang="en-IN"/>
        </a:p>
      </dgm:t>
    </dgm:pt>
    <dgm:pt modelId="{5957DC42-8496-4672-83B3-9A5931104DE6}">
      <dgm:prSet phldrT="[Text]"/>
      <dgm:spPr/>
      <dgm:t>
        <a:bodyPr/>
        <a:lstStyle/>
        <a:p>
          <a:endParaRPr lang="en-IN" dirty="0"/>
        </a:p>
      </dgm:t>
    </dgm:pt>
    <dgm:pt modelId="{35DC2CF6-7D9E-4870-9264-1278FCA9A055}" type="parTrans" cxnId="{814DF80B-315B-4B95-B19A-25EEE612B74F}">
      <dgm:prSet/>
      <dgm:spPr/>
      <dgm:t>
        <a:bodyPr/>
        <a:lstStyle/>
        <a:p>
          <a:endParaRPr lang="en-IN"/>
        </a:p>
      </dgm:t>
    </dgm:pt>
    <dgm:pt modelId="{3F030BB8-A9E6-48DA-A5A9-9B1CE655E096}" type="sibTrans" cxnId="{814DF80B-315B-4B95-B19A-25EEE612B74F}">
      <dgm:prSet/>
      <dgm:spPr/>
      <dgm:t>
        <a:bodyPr/>
        <a:lstStyle/>
        <a:p>
          <a:endParaRPr lang="en-IN"/>
        </a:p>
      </dgm:t>
    </dgm:pt>
    <dgm:pt modelId="{1F50F06F-2260-4E3C-9E98-AE5EE0C4C7D0}">
      <dgm:prSet phldrT="[Text]"/>
      <dgm:spPr/>
      <dgm:t>
        <a:bodyPr/>
        <a:lstStyle/>
        <a:p>
          <a:pPr>
            <a:buNone/>
          </a:pPr>
          <a:r>
            <a:rPr lang="en-US" dirty="0">
              <a:solidFill>
                <a:schemeClr val="tx2"/>
              </a:solidFill>
            </a:rPr>
            <a:t>A Kubernetes Deployment is a higher-level abstraction that manages and automates the lifecycle of Pods. It ensures the correct number of replicas are running, supports rolling updates, and provides self-healing capabilities.</a:t>
          </a:r>
          <a:endParaRPr lang="en-IN" dirty="0">
            <a:solidFill>
              <a:schemeClr val="tx2"/>
            </a:solidFill>
          </a:endParaRPr>
        </a:p>
      </dgm:t>
    </dgm:pt>
    <dgm:pt modelId="{82D8D9D8-D933-42A5-ABC6-DECCC7A84BAD}" type="parTrans" cxnId="{D52DD210-5FC0-4873-B9AB-83D3F5001E37}">
      <dgm:prSet/>
      <dgm:spPr/>
      <dgm:t>
        <a:bodyPr/>
        <a:lstStyle/>
        <a:p>
          <a:endParaRPr lang="en-IN"/>
        </a:p>
      </dgm:t>
    </dgm:pt>
    <dgm:pt modelId="{9FC3B7A0-963E-4656-81E6-C6B6C623B566}" type="sibTrans" cxnId="{D52DD210-5FC0-4873-B9AB-83D3F5001E37}">
      <dgm:prSet/>
      <dgm:spPr/>
      <dgm:t>
        <a:bodyPr/>
        <a:lstStyle/>
        <a:p>
          <a:endParaRPr lang="en-IN"/>
        </a:p>
      </dgm:t>
    </dgm:pt>
    <dgm:pt modelId="{933A286A-AD17-4AD1-950A-5AD6A3C3848C}">
      <dgm:prSet phldrT="[Text]"/>
      <dgm:spPr/>
      <dgm:t>
        <a:bodyPr/>
        <a:lstStyle/>
        <a:p>
          <a:endParaRPr lang="en-IN" dirty="0"/>
        </a:p>
      </dgm:t>
    </dgm:pt>
    <dgm:pt modelId="{37B1B789-C770-468D-A944-FEE754D1A540}" type="parTrans" cxnId="{DEC86DCD-9B5C-42FF-9001-E05D85FAF08C}">
      <dgm:prSet/>
      <dgm:spPr/>
      <dgm:t>
        <a:bodyPr/>
        <a:lstStyle/>
        <a:p>
          <a:endParaRPr lang="en-IN"/>
        </a:p>
      </dgm:t>
    </dgm:pt>
    <dgm:pt modelId="{BDEDA7D1-31BC-42E7-AD0C-BB33B711B779}" type="sibTrans" cxnId="{DEC86DCD-9B5C-42FF-9001-E05D85FAF08C}">
      <dgm:prSet/>
      <dgm:spPr/>
      <dgm:t>
        <a:bodyPr/>
        <a:lstStyle/>
        <a:p>
          <a:endParaRPr lang="en-IN"/>
        </a:p>
      </dgm:t>
    </dgm:pt>
    <dgm:pt modelId="{E85A92A7-6987-4028-82D1-083A5603BECF}" type="pres">
      <dgm:prSet presAssocID="{6D91852E-383B-4896-9C23-D9C901179F69}" presName="Name0" presStyleCnt="0">
        <dgm:presLayoutVars>
          <dgm:chMax/>
          <dgm:chPref val="3"/>
          <dgm:dir/>
          <dgm:animOne val="branch"/>
          <dgm:animLvl val="lvl"/>
        </dgm:presLayoutVars>
      </dgm:prSet>
      <dgm:spPr/>
    </dgm:pt>
    <dgm:pt modelId="{7AA6612E-8DB0-45F8-91AF-B330A216EA3D}" type="pres">
      <dgm:prSet presAssocID="{BA02106F-8D3E-4F69-9F94-E3D76A797A35}" presName="composite" presStyleCnt="0"/>
      <dgm:spPr/>
    </dgm:pt>
    <dgm:pt modelId="{A9614BB7-D6C7-4435-B437-18E154CB3859}" type="pres">
      <dgm:prSet presAssocID="{BA02106F-8D3E-4F69-9F94-E3D76A797A35}" presName="FirstChild" presStyleLbl="revTx" presStyleIdx="0" presStyleCnt="10">
        <dgm:presLayoutVars>
          <dgm:chMax val="0"/>
          <dgm:chPref val="0"/>
          <dgm:bulletEnabled val="1"/>
        </dgm:presLayoutVars>
      </dgm:prSet>
      <dgm:spPr/>
    </dgm:pt>
    <dgm:pt modelId="{9C50BCFC-D54F-4BA2-9552-7F0FE6B4C80D}" type="pres">
      <dgm:prSet presAssocID="{BA02106F-8D3E-4F69-9F94-E3D76A797A35}" presName="Parent" presStyleLbl="alignNode1" presStyleIdx="0" presStyleCnt="5">
        <dgm:presLayoutVars>
          <dgm:chMax val="3"/>
          <dgm:chPref val="3"/>
          <dgm:bulletEnabled val="1"/>
        </dgm:presLayoutVars>
      </dgm:prSet>
      <dgm:spPr/>
    </dgm:pt>
    <dgm:pt modelId="{A3B3F0F8-69D5-4CC8-8914-9F227F7B5115}" type="pres">
      <dgm:prSet presAssocID="{BA02106F-8D3E-4F69-9F94-E3D76A797A35}" presName="Accent" presStyleLbl="parChTrans1D1" presStyleIdx="0" presStyleCnt="5"/>
      <dgm:spPr/>
    </dgm:pt>
    <dgm:pt modelId="{8102EF08-2D89-410F-9777-5630572C5832}" type="pres">
      <dgm:prSet presAssocID="{BA02106F-8D3E-4F69-9F94-E3D76A797A35}" presName="Child" presStyleLbl="revTx" presStyleIdx="1" presStyleCnt="10">
        <dgm:presLayoutVars>
          <dgm:chMax val="0"/>
          <dgm:chPref val="0"/>
          <dgm:bulletEnabled val="1"/>
        </dgm:presLayoutVars>
      </dgm:prSet>
      <dgm:spPr/>
    </dgm:pt>
    <dgm:pt modelId="{05C05591-627F-44F5-97B4-1E1631597354}" type="pres">
      <dgm:prSet presAssocID="{D1E5EB83-8BC7-4DE8-9017-3E3BC6E6D471}" presName="sibTrans" presStyleCnt="0"/>
      <dgm:spPr/>
    </dgm:pt>
    <dgm:pt modelId="{27C8A4E5-6CB7-453A-BBB6-CF70ED79ECE9}" type="pres">
      <dgm:prSet presAssocID="{1EEF9715-AA49-4084-8EE5-A909BF2FC24C}" presName="composite" presStyleCnt="0"/>
      <dgm:spPr/>
    </dgm:pt>
    <dgm:pt modelId="{CF61EFEB-DCC9-4211-BF27-6C17205E86C1}" type="pres">
      <dgm:prSet presAssocID="{1EEF9715-AA49-4084-8EE5-A909BF2FC24C}" presName="FirstChild" presStyleLbl="revTx" presStyleIdx="2" presStyleCnt="10">
        <dgm:presLayoutVars>
          <dgm:chMax val="0"/>
          <dgm:chPref val="0"/>
          <dgm:bulletEnabled val="1"/>
        </dgm:presLayoutVars>
      </dgm:prSet>
      <dgm:spPr/>
    </dgm:pt>
    <dgm:pt modelId="{476383A8-643B-42C9-8981-564251140A05}" type="pres">
      <dgm:prSet presAssocID="{1EEF9715-AA49-4084-8EE5-A909BF2FC24C}" presName="Parent" presStyleLbl="alignNode1" presStyleIdx="1" presStyleCnt="5">
        <dgm:presLayoutVars>
          <dgm:chMax val="3"/>
          <dgm:chPref val="3"/>
          <dgm:bulletEnabled val="1"/>
        </dgm:presLayoutVars>
      </dgm:prSet>
      <dgm:spPr/>
    </dgm:pt>
    <dgm:pt modelId="{BDAD71F0-8990-4EC4-99B6-D916E386FD63}" type="pres">
      <dgm:prSet presAssocID="{1EEF9715-AA49-4084-8EE5-A909BF2FC24C}" presName="Accent" presStyleLbl="parChTrans1D1" presStyleIdx="1" presStyleCnt="5"/>
      <dgm:spPr/>
    </dgm:pt>
    <dgm:pt modelId="{7195114F-D131-4C84-8B92-B164332B3FAA}" type="pres">
      <dgm:prSet presAssocID="{1EEF9715-AA49-4084-8EE5-A909BF2FC24C}" presName="Child" presStyleLbl="revTx" presStyleIdx="3" presStyleCnt="10">
        <dgm:presLayoutVars>
          <dgm:chMax val="0"/>
          <dgm:chPref val="0"/>
          <dgm:bulletEnabled val="1"/>
        </dgm:presLayoutVars>
      </dgm:prSet>
      <dgm:spPr/>
    </dgm:pt>
    <dgm:pt modelId="{D61D1507-80E6-4F62-87D3-1A05466D14D7}" type="pres">
      <dgm:prSet presAssocID="{35997440-BED9-40B0-8B34-B7E7B551A4E7}" presName="sibTrans" presStyleCnt="0"/>
      <dgm:spPr/>
    </dgm:pt>
    <dgm:pt modelId="{14CA3899-5EAB-4C50-9C58-80B7CB34F2C0}" type="pres">
      <dgm:prSet presAssocID="{5CD346A4-DCBF-4EA1-B2B9-C8DEEB7729EE}" presName="composite" presStyleCnt="0"/>
      <dgm:spPr/>
    </dgm:pt>
    <dgm:pt modelId="{4DE09FB2-9492-4AE6-836C-CC8EB459781A}" type="pres">
      <dgm:prSet presAssocID="{5CD346A4-DCBF-4EA1-B2B9-C8DEEB7729EE}" presName="FirstChild" presStyleLbl="revTx" presStyleIdx="4" presStyleCnt="10">
        <dgm:presLayoutVars>
          <dgm:chMax val="0"/>
          <dgm:chPref val="0"/>
          <dgm:bulletEnabled val="1"/>
        </dgm:presLayoutVars>
      </dgm:prSet>
      <dgm:spPr/>
    </dgm:pt>
    <dgm:pt modelId="{F1107D10-0233-48CF-91E7-E922D72F80A5}" type="pres">
      <dgm:prSet presAssocID="{5CD346A4-DCBF-4EA1-B2B9-C8DEEB7729EE}" presName="Parent" presStyleLbl="alignNode1" presStyleIdx="2" presStyleCnt="5">
        <dgm:presLayoutVars>
          <dgm:chMax val="3"/>
          <dgm:chPref val="3"/>
          <dgm:bulletEnabled val="1"/>
        </dgm:presLayoutVars>
      </dgm:prSet>
      <dgm:spPr/>
    </dgm:pt>
    <dgm:pt modelId="{F3484DF9-1364-477E-8299-9A5397453C46}" type="pres">
      <dgm:prSet presAssocID="{5CD346A4-DCBF-4EA1-B2B9-C8DEEB7729EE}" presName="Accent" presStyleLbl="parChTrans1D1" presStyleIdx="2" presStyleCnt="5"/>
      <dgm:spPr/>
    </dgm:pt>
    <dgm:pt modelId="{ED2BE4A4-5982-459E-ADB7-A9908D561E72}" type="pres">
      <dgm:prSet presAssocID="{5CD346A4-DCBF-4EA1-B2B9-C8DEEB7729EE}" presName="Child" presStyleLbl="revTx" presStyleIdx="5" presStyleCnt="10">
        <dgm:presLayoutVars>
          <dgm:chMax val="0"/>
          <dgm:chPref val="0"/>
          <dgm:bulletEnabled val="1"/>
        </dgm:presLayoutVars>
      </dgm:prSet>
      <dgm:spPr/>
    </dgm:pt>
    <dgm:pt modelId="{9EEE3CD6-4184-4583-8062-D6CB3A4CC6F0}" type="pres">
      <dgm:prSet presAssocID="{CAEBB828-684E-4E9E-98FB-9835E5DA6940}" presName="sibTrans" presStyleCnt="0"/>
      <dgm:spPr/>
    </dgm:pt>
    <dgm:pt modelId="{7772F4B3-AF22-47D7-85D7-B19A5CC9F086}" type="pres">
      <dgm:prSet presAssocID="{4DFEAC23-1A6C-46DB-BA0E-40B746C55F43}" presName="composite" presStyleCnt="0"/>
      <dgm:spPr/>
    </dgm:pt>
    <dgm:pt modelId="{D82ACAAE-9A09-428F-A11E-3F3EEFAEC9D5}" type="pres">
      <dgm:prSet presAssocID="{4DFEAC23-1A6C-46DB-BA0E-40B746C55F43}" presName="FirstChild" presStyleLbl="revTx" presStyleIdx="6" presStyleCnt="10">
        <dgm:presLayoutVars>
          <dgm:chMax val="0"/>
          <dgm:chPref val="0"/>
          <dgm:bulletEnabled val="1"/>
        </dgm:presLayoutVars>
      </dgm:prSet>
      <dgm:spPr/>
    </dgm:pt>
    <dgm:pt modelId="{476E3AE9-6DA8-46AF-9B7A-8D54AE19B71D}" type="pres">
      <dgm:prSet presAssocID="{4DFEAC23-1A6C-46DB-BA0E-40B746C55F43}" presName="Parent" presStyleLbl="alignNode1" presStyleIdx="3" presStyleCnt="5">
        <dgm:presLayoutVars>
          <dgm:chMax val="3"/>
          <dgm:chPref val="3"/>
          <dgm:bulletEnabled val="1"/>
        </dgm:presLayoutVars>
      </dgm:prSet>
      <dgm:spPr/>
    </dgm:pt>
    <dgm:pt modelId="{5E98A2D8-ACF1-44EE-9E0F-9C45D73565D6}" type="pres">
      <dgm:prSet presAssocID="{4DFEAC23-1A6C-46DB-BA0E-40B746C55F43}" presName="Accent" presStyleLbl="parChTrans1D1" presStyleIdx="3" presStyleCnt="5"/>
      <dgm:spPr/>
    </dgm:pt>
    <dgm:pt modelId="{7766C3E4-7CD4-4871-99F1-58E33122CBB5}" type="pres">
      <dgm:prSet presAssocID="{4DFEAC23-1A6C-46DB-BA0E-40B746C55F43}" presName="Child" presStyleLbl="revTx" presStyleIdx="7" presStyleCnt="10">
        <dgm:presLayoutVars>
          <dgm:chMax val="0"/>
          <dgm:chPref val="0"/>
          <dgm:bulletEnabled val="1"/>
        </dgm:presLayoutVars>
      </dgm:prSet>
      <dgm:spPr/>
    </dgm:pt>
    <dgm:pt modelId="{4385077D-2CAA-47CA-AA84-8AA2EACDD3D8}" type="pres">
      <dgm:prSet presAssocID="{A6EB2253-010C-4D36-8414-9B6C713BB2FD}" presName="sibTrans" presStyleCnt="0"/>
      <dgm:spPr/>
    </dgm:pt>
    <dgm:pt modelId="{812B1454-8119-40FD-9157-51908E68AF78}" type="pres">
      <dgm:prSet presAssocID="{EB9A41E1-2841-4E03-AD59-8F887F3990AD}" presName="composite" presStyleCnt="0"/>
      <dgm:spPr/>
    </dgm:pt>
    <dgm:pt modelId="{12363F8C-977D-470C-A868-931A86AEFAD7}" type="pres">
      <dgm:prSet presAssocID="{EB9A41E1-2841-4E03-AD59-8F887F3990AD}" presName="FirstChild" presStyleLbl="revTx" presStyleIdx="8" presStyleCnt="10">
        <dgm:presLayoutVars>
          <dgm:chMax val="0"/>
          <dgm:chPref val="0"/>
          <dgm:bulletEnabled val="1"/>
        </dgm:presLayoutVars>
      </dgm:prSet>
      <dgm:spPr/>
    </dgm:pt>
    <dgm:pt modelId="{D544AD11-C671-40DD-8885-93A7E81621A8}" type="pres">
      <dgm:prSet presAssocID="{EB9A41E1-2841-4E03-AD59-8F887F3990AD}" presName="Parent" presStyleLbl="alignNode1" presStyleIdx="4" presStyleCnt="5">
        <dgm:presLayoutVars>
          <dgm:chMax val="3"/>
          <dgm:chPref val="3"/>
          <dgm:bulletEnabled val="1"/>
        </dgm:presLayoutVars>
      </dgm:prSet>
      <dgm:spPr/>
    </dgm:pt>
    <dgm:pt modelId="{29F103BC-91E9-44C3-BDEC-5C1F988EBAC9}" type="pres">
      <dgm:prSet presAssocID="{EB9A41E1-2841-4E03-AD59-8F887F3990AD}" presName="Accent" presStyleLbl="parChTrans1D1" presStyleIdx="4" presStyleCnt="5"/>
      <dgm:spPr/>
    </dgm:pt>
    <dgm:pt modelId="{83D5A534-EB35-4E74-8F7D-F0C323A6741D}" type="pres">
      <dgm:prSet presAssocID="{EB9A41E1-2841-4E03-AD59-8F887F3990AD}" presName="Child" presStyleLbl="revTx" presStyleIdx="9" presStyleCnt="10">
        <dgm:presLayoutVars>
          <dgm:chMax val="0"/>
          <dgm:chPref val="0"/>
          <dgm:bulletEnabled val="1"/>
        </dgm:presLayoutVars>
      </dgm:prSet>
      <dgm:spPr/>
    </dgm:pt>
  </dgm:ptLst>
  <dgm:cxnLst>
    <dgm:cxn modelId="{9A1E0907-905D-4D37-8ED0-F7648D3DF675}" srcId="{5CD346A4-DCBF-4EA1-B2B9-C8DEEB7729EE}" destId="{A8F1A0D6-C92A-4B82-9C4F-D045218FE45B}" srcOrd="1" destOrd="0" parTransId="{34E7437B-92F8-4511-9E65-EBCD740550AF}" sibTransId="{4F5C9EFF-450E-475A-9B5D-4B1E59B171B8}"/>
    <dgm:cxn modelId="{814DF80B-315B-4B95-B19A-25EEE612B74F}" srcId="{4DFEAC23-1A6C-46DB-BA0E-40B746C55F43}" destId="{5957DC42-8496-4672-83B3-9A5931104DE6}" srcOrd="0" destOrd="0" parTransId="{35DC2CF6-7D9E-4870-9264-1278FCA9A055}" sibTransId="{3F030BB8-A9E6-48DA-A5A9-9B1CE655E096}"/>
    <dgm:cxn modelId="{D52DD210-5FC0-4873-B9AB-83D3F5001E37}" srcId="{EB9A41E1-2841-4E03-AD59-8F887F3990AD}" destId="{1F50F06F-2260-4E3C-9E98-AE5EE0C4C7D0}" srcOrd="1" destOrd="0" parTransId="{82D8D9D8-D933-42A5-ABC6-DECCC7A84BAD}" sibTransId="{9FC3B7A0-963E-4656-81E6-C6B6C623B566}"/>
    <dgm:cxn modelId="{4DC2AD17-370F-41F8-A13B-572452FD5A7D}" srcId="{6D91852E-383B-4896-9C23-D9C901179F69}" destId="{5CD346A4-DCBF-4EA1-B2B9-C8DEEB7729EE}" srcOrd="2" destOrd="0" parTransId="{35FB2DAE-4FA0-4316-8942-223A841982B0}" sibTransId="{CAEBB828-684E-4E9E-98FB-9835E5DA6940}"/>
    <dgm:cxn modelId="{500C9529-3147-4D5D-9558-7FAC68DCBCAA}" srcId="{6D91852E-383B-4896-9C23-D9C901179F69}" destId="{BA02106F-8D3E-4F69-9F94-E3D76A797A35}" srcOrd="0" destOrd="0" parTransId="{26B54867-FBEC-4DDD-A1BF-7AB10B0415C2}" sibTransId="{D1E5EB83-8BC7-4DE8-9017-3E3BC6E6D471}"/>
    <dgm:cxn modelId="{4CCA8F2B-7DF0-46D5-A451-1F7CC6E24073}" srcId="{1EEF9715-AA49-4084-8EE5-A909BF2FC24C}" destId="{0937EB2D-ECB9-4369-AC3A-F6F1DBA57EBA}" srcOrd="0" destOrd="0" parTransId="{8D02F50E-2601-4425-8306-854FA2CFAFA0}" sibTransId="{0B813464-D0A4-4C80-8F17-F434B2E607F5}"/>
    <dgm:cxn modelId="{59565F2C-17AA-4B9C-B65D-33E4F958F2FB}" type="presOf" srcId="{BA02106F-8D3E-4F69-9F94-E3D76A797A35}" destId="{9C50BCFC-D54F-4BA2-9552-7F0FE6B4C80D}" srcOrd="0" destOrd="0" presId="urn:microsoft.com/office/officeart/2011/layout/TabList"/>
    <dgm:cxn modelId="{69ADD831-DE81-4AA1-B0F5-E052FBC68895}" type="presOf" srcId="{1F50F06F-2260-4E3C-9E98-AE5EE0C4C7D0}" destId="{83D5A534-EB35-4E74-8F7D-F0C323A6741D}" srcOrd="0" destOrd="0" presId="urn:microsoft.com/office/officeart/2011/layout/TabList"/>
    <dgm:cxn modelId="{499D3436-D328-4594-8457-3FD379071134}" type="presOf" srcId="{EF4D49F1-98BE-4AE7-A412-6B82FEA1F911}" destId="{7766C3E4-7CD4-4871-99F1-58E33122CBB5}" srcOrd="0" destOrd="0" presId="urn:microsoft.com/office/officeart/2011/layout/TabList"/>
    <dgm:cxn modelId="{4088845E-285D-4468-BB5F-E048FE4B1D2B}" srcId="{6D91852E-383B-4896-9C23-D9C901179F69}" destId="{1EEF9715-AA49-4084-8EE5-A909BF2FC24C}" srcOrd="1" destOrd="0" parTransId="{555DCDA7-1F87-422E-87B5-9BEE8BB6BCFE}" sibTransId="{35997440-BED9-40B0-8B34-B7E7B551A4E7}"/>
    <dgm:cxn modelId="{A123525F-DD0E-4478-B271-21744AE21550}" srcId="{4DFEAC23-1A6C-46DB-BA0E-40B746C55F43}" destId="{EF4D49F1-98BE-4AE7-A412-6B82FEA1F911}" srcOrd="1" destOrd="0" parTransId="{4DA4A2F4-2C56-418F-A23C-BC605F8C89EF}" sibTransId="{EF2E0F93-6899-49B5-AA42-B7CAE8D8DA8B}"/>
    <dgm:cxn modelId="{4B90554C-0629-4AE1-AAE9-7D4C8DD6AA16}" type="presOf" srcId="{0937EB2D-ECB9-4369-AC3A-F6F1DBA57EBA}" destId="{CF61EFEB-DCC9-4211-BF27-6C17205E86C1}" srcOrd="0" destOrd="0" presId="urn:microsoft.com/office/officeart/2011/layout/TabList"/>
    <dgm:cxn modelId="{86F3454D-09B1-4FF1-8B63-A3B5BC6F1092}" type="presOf" srcId="{933A286A-AD17-4AD1-950A-5AD6A3C3848C}" destId="{12363F8C-977D-470C-A868-931A86AEFAD7}" srcOrd="0" destOrd="0" presId="urn:microsoft.com/office/officeart/2011/layout/TabList"/>
    <dgm:cxn modelId="{8F253C51-49B1-47F0-B30A-53FE8835A93F}" srcId="{BA02106F-8D3E-4F69-9F94-E3D76A797A35}" destId="{AF242455-2542-4E63-AB4E-75B55039152A}" srcOrd="1" destOrd="0" parTransId="{7E17D2E3-16CB-4608-9022-B5C56836BEC1}" sibTransId="{BE5CB55F-1BE2-4DF5-86C1-3FE51086B39F}"/>
    <dgm:cxn modelId="{C830D054-2D30-40FC-A977-5D52EB4B2095}" type="presOf" srcId="{6D91852E-383B-4896-9C23-D9C901179F69}" destId="{E85A92A7-6987-4028-82D1-083A5603BECF}" srcOrd="0" destOrd="0" presId="urn:microsoft.com/office/officeart/2011/layout/TabList"/>
    <dgm:cxn modelId="{6F308482-6B20-4158-B8F9-3C709F59571F}" type="presOf" srcId="{A8F1A0D6-C92A-4B82-9C4F-D045218FE45B}" destId="{ED2BE4A4-5982-459E-ADB7-A9908D561E72}" srcOrd="0" destOrd="0" presId="urn:microsoft.com/office/officeart/2011/layout/TabList"/>
    <dgm:cxn modelId="{E56D9495-7BF8-4B44-A97C-2F690E52B1D8}" type="presOf" srcId="{EB9A41E1-2841-4E03-AD59-8F887F3990AD}" destId="{D544AD11-C671-40DD-8885-93A7E81621A8}" srcOrd="0" destOrd="0" presId="urn:microsoft.com/office/officeart/2011/layout/TabList"/>
    <dgm:cxn modelId="{B4DED69C-527D-4DFB-80BA-E96896AA59DE}" type="presOf" srcId="{AF242455-2542-4E63-AB4E-75B55039152A}" destId="{8102EF08-2D89-410F-9777-5630572C5832}" srcOrd="0" destOrd="0" presId="urn:microsoft.com/office/officeart/2011/layout/TabList"/>
    <dgm:cxn modelId="{9E849DA1-13F6-416B-89A3-4C4EB1F706EA}" type="presOf" srcId="{73373CBA-AB8C-474F-8275-8BFBBA32DCDA}" destId="{7195114F-D131-4C84-8B92-B164332B3FAA}" srcOrd="0" destOrd="0" presId="urn:microsoft.com/office/officeart/2011/layout/TabList"/>
    <dgm:cxn modelId="{6AB091A5-F8E5-4A57-9132-33D76566A19B}" srcId="{5CD346A4-DCBF-4EA1-B2B9-C8DEEB7729EE}" destId="{F83395FF-14CC-4B55-8BEA-6961D58620BB}" srcOrd="0" destOrd="0" parTransId="{94DD9EA6-C2F1-4DBF-8705-5BBD0852C7C4}" sibTransId="{46026156-C8F3-4A82-BAC6-F51B96AD38F3}"/>
    <dgm:cxn modelId="{8198F9A9-D45E-46F1-8150-196FBE93B972}" type="presOf" srcId="{5957DC42-8496-4672-83B3-9A5931104DE6}" destId="{D82ACAAE-9A09-428F-A11E-3F3EEFAEC9D5}" srcOrd="0" destOrd="0" presId="urn:microsoft.com/office/officeart/2011/layout/TabList"/>
    <dgm:cxn modelId="{CF452BB3-7CA9-46A1-9C07-807C35B6A056}" srcId="{BA02106F-8D3E-4F69-9F94-E3D76A797A35}" destId="{D5C03E19-C88F-491B-9BA3-EB242D84EABD}" srcOrd="0" destOrd="0" parTransId="{A929E578-0EA6-4792-B301-FFA872EE18A8}" sibTransId="{898B8B0A-83FA-4015-A132-725384AE5EB3}"/>
    <dgm:cxn modelId="{4B78C8B3-AA8F-4050-9C9D-526097FAB113}" srcId="{1EEF9715-AA49-4084-8EE5-A909BF2FC24C}" destId="{73373CBA-AB8C-474F-8275-8BFBBA32DCDA}" srcOrd="1" destOrd="0" parTransId="{8999A739-0370-452A-A800-B686E8B3C712}" sibTransId="{499F577B-E4F2-4E67-A1B6-5D1F13B755C0}"/>
    <dgm:cxn modelId="{3CABDFB3-BCAB-4BFD-A023-2D507738578D}" type="presOf" srcId="{1EEF9715-AA49-4084-8EE5-A909BF2FC24C}" destId="{476383A8-643B-42C9-8981-564251140A05}" srcOrd="0" destOrd="0" presId="urn:microsoft.com/office/officeart/2011/layout/TabList"/>
    <dgm:cxn modelId="{903D4BC9-8138-46F2-9985-CC15D647587B}" type="presOf" srcId="{4DFEAC23-1A6C-46DB-BA0E-40B746C55F43}" destId="{476E3AE9-6DA8-46AF-9B7A-8D54AE19B71D}" srcOrd="0" destOrd="0" presId="urn:microsoft.com/office/officeart/2011/layout/TabList"/>
    <dgm:cxn modelId="{DEC86DCD-9B5C-42FF-9001-E05D85FAF08C}" srcId="{EB9A41E1-2841-4E03-AD59-8F887F3990AD}" destId="{933A286A-AD17-4AD1-950A-5AD6A3C3848C}" srcOrd="0" destOrd="0" parTransId="{37B1B789-C770-468D-A944-FEE754D1A540}" sibTransId="{BDEDA7D1-31BC-42E7-AD0C-BB33B711B779}"/>
    <dgm:cxn modelId="{DB9F02DF-42F9-4CD4-B15B-6C59DE36516D}" type="presOf" srcId="{D5C03E19-C88F-491B-9BA3-EB242D84EABD}" destId="{A9614BB7-D6C7-4435-B437-18E154CB3859}" srcOrd="0" destOrd="0" presId="urn:microsoft.com/office/officeart/2011/layout/TabList"/>
    <dgm:cxn modelId="{3D61F2E3-5EB3-451A-83C9-F0C7C5BFD880}" type="presOf" srcId="{5CD346A4-DCBF-4EA1-B2B9-C8DEEB7729EE}" destId="{F1107D10-0233-48CF-91E7-E922D72F80A5}" srcOrd="0" destOrd="0" presId="urn:microsoft.com/office/officeart/2011/layout/TabList"/>
    <dgm:cxn modelId="{953516ED-8205-49C7-BBF3-38E509849AD0}" srcId="{6D91852E-383B-4896-9C23-D9C901179F69}" destId="{4DFEAC23-1A6C-46DB-BA0E-40B746C55F43}" srcOrd="3" destOrd="0" parTransId="{C0179E8A-A514-470D-895E-84A599546B0D}" sibTransId="{A6EB2253-010C-4D36-8414-9B6C713BB2FD}"/>
    <dgm:cxn modelId="{667C41F5-82BD-47FC-B898-34F2D5DE8340}" type="presOf" srcId="{F83395FF-14CC-4B55-8BEA-6961D58620BB}" destId="{4DE09FB2-9492-4AE6-836C-CC8EB459781A}" srcOrd="0" destOrd="0" presId="urn:microsoft.com/office/officeart/2011/layout/TabList"/>
    <dgm:cxn modelId="{EBC217FD-1724-4599-B6BC-AD4B605B5456}" srcId="{6D91852E-383B-4896-9C23-D9C901179F69}" destId="{EB9A41E1-2841-4E03-AD59-8F887F3990AD}" srcOrd="4" destOrd="0" parTransId="{772FCA04-56DA-47FA-95C5-4ACD1CCA0856}" sibTransId="{A4F74022-35B3-43D6-AD90-BB0C369DEDB7}"/>
    <dgm:cxn modelId="{CBF0D23C-73BD-4C7D-9B8F-B91F423ECDE9}" type="presParOf" srcId="{E85A92A7-6987-4028-82D1-083A5603BECF}" destId="{7AA6612E-8DB0-45F8-91AF-B330A216EA3D}" srcOrd="0" destOrd="0" presId="urn:microsoft.com/office/officeart/2011/layout/TabList"/>
    <dgm:cxn modelId="{B0F14D7F-E606-418E-85E8-7B25F87F45DC}" type="presParOf" srcId="{7AA6612E-8DB0-45F8-91AF-B330A216EA3D}" destId="{A9614BB7-D6C7-4435-B437-18E154CB3859}" srcOrd="0" destOrd="0" presId="urn:microsoft.com/office/officeart/2011/layout/TabList"/>
    <dgm:cxn modelId="{F9F6A600-5C72-4A33-B444-DC2F953B70A7}" type="presParOf" srcId="{7AA6612E-8DB0-45F8-91AF-B330A216EA3D}" destId="{9C50BCFC-D54F-4BA2-9552-7F0FE6B4C80D}" srcOrd="1" destOrd="0" presId="urn:microsoft.com/office/officeart/2011/layout/TabList"/>
    <dgm:cxn modelId="{8B0D3E91-9528-4F7E-937E-19B78ABF8BC3}" type="presParOf" srcId="{7AA6612E-8DB0-45F8-91AF-B330A216EA3D}" destId="{A3B3F0F8-69D5-4CC8-8914-9F227F7B5115}" srcOrd="2" destOrd="0" presId="urn:microsoft.com/office/officeart/2011/layout/TabList"/>
    <dgm:cxn modelId="{D2EFCA58-9D66-4F22-8D14-2007E8403043}" type="presParOf" srcId="{E85A92A7-6987-4028-82D1-083A5603BECF}" destId="{8102EF08-2D89-410F-9777-5630572C5832}" srcOrd="1" destOrd="0" presId="urn:microsoft.com/office/officeart/2011/layout/TabList"/>
    <dgm:cxn modelId="{76604902-B8A2-48EE-9D15-77637F80AAE3}" type="presParOf" srcId="{E85A92A7-6987-4028-82D1-083A5603BECF}" destId="{05C05591-627F-44F5-97B4-1E1631597354}" srcOrd="2" destOrd="0" presId="urn:microsoft.com/office/officeart/2011/layout/TabList"/>
    <dgm:cxn modelId="{1CEBA85B-20D3-4876-9405-33C89323B7B4}" type="presParOf" srcId="{E85A92A7-6987-4028-82D1-083A5603BECF}" destId="{27C8A4E5-6CB7-453A-BBB6-CF70ED79ECE9}" srcOrd="3" destOrd="0" presId="urn:microsoft.com/office/officeart/2011/layout/TabList"/>
    <dgm:cxn modelId="{56792D5A-A59A-4291-B799-75FAC3E5F009}" type="presParOf" srcId="{27C8A4E5-6CB7-453A-BBB6-CF70ED79ECE9}" destId="{CF61EFEB-DCC9-4211-BF27-6C17205E86C1}" srcOrd="0" destOrd="0" presId="urn:microsoft.com/office/officeart/2011/layout/TabList"/>
    <dgm:cxn modelId="{E59E1F34-04E0-4267-AC8C-2A6D1FE8AF97}" type="presParOf" srcId="{27C8A4E5-6CB7-453A-BBB6-CF70ED79ECE9}" destId="{476383A8-643B-42C9-8981-564251140A05}" srcOrd="1" destOrd="0" presId="urn:microsoft.com/office/officeart/2011/layout/TabList"/>
    <dgm:cxn modelId="{E8E3E456-DFA4-4062-A78E-C5307FEAF4CE}" type="presParOf" srcId="{27C8A4E5-6CB7-453A-BBB6-CF70ED79ECE9}" destId="{BDAD71F0-8990-4EC4-99B6-D916E386FD63}" srcOrd="2" destOrd="0" presId="urn:microsoft.com/office/officeart/2011/layout/TabList"/>
    <dgm:cxn modelId="{2C59AF1F-337B-4424-B201-9EFD755ED0E3}" type="presParOf" srcId="{E85A92A7-6987-4028-82D1-083A5603BECF}" destId="{7195114F-D131-4C84-8B92-B164332B3FAA}" srcOrd="4" destOrd="0" presId="urn:microsoft.com/office/officeart/2011/layout/TabList"/>
    <dgm:cxn modelId="{CBB08771-CD90-4B4B-A5D6-0B98463600B4}" type="presParOf" srcId="{E85A92A7-6987-4028-82D1-083A5603BECF}" destId="{D61D1507-80E6-4F62-87D3-1A05466D14D7}" srcOrd="5" destOrd="0" presId="urn:microsoft.com/office/officeart/2011/layout/TabList"/>
    <dgm:cxn modelId="{4730E4A7-4C08-4BF9-90C1-9F7C463C4C52}" type="presParOf" srcId="{E85A92A7-6987-4028-82D1-083A5603BECF}" destId="{14CA3899-5EAB-4C50-9C58-80B7CB34F2C0}" srcOrd="6" destOrd="0" presId="urn:microsoft.com/office/officeart/2011/layout/TabList"/>
    <dgm:cxn modelId="{06210850-569F-4BDE-9D0F-8F329DC005A8}" type="presParOf" srcId="{14CA3899-5EAB-4C50-9C58-80B7CB34F2C0}" destId="{4DE09FB2-9492-4AE6-836C-CC8EB459781A}" srcOrd="0" destOrd="0" presId="urn:microsoft.com/office/officeart/2011/layout/TabList"/>
    <dgm:cxn modelId="{D38D0B47-53C0-42F8-9B53-154807C9CD72}" type="presParOf" srcId="{14CA3899-5EAB-4C50-9C58-80B7CB34F2C0}" destId="{F1107D10-0233-48CF-91E7-E922D72F80A5}" srcOrd="1" destOrd="0" presId="urn:microsoft.com/office/officeart/2011/layout/TabList"/>
    <dgm:cxn modelId="{DAF30B57-04FF-4DAD-B146-E721BCADF7B4}" type="presParOf" srcId="{14CA3899-5EAB-4C50-9C58-80B7CB34F2C0}" destId="{F3484DF9-1364-477E-8299-9A5397453C46}" srcOrd="2" destOrd="0" presId="urn:microsoft.com/office/officeart/2011/layout/TabList"/>
    <dgm:cxn modelId="{F1B1F8AE-6059-42DA-8C31-F94AC688C2E8}" type="presParOf" srcId="{E85A92A7-6987-4028-82D1-083A5603BECF}" destId="{ED2BE4A4-5982-459E-ADB7-A9908D561E72}" srcOrd="7" destOrd="0" presId="urn:microsoft.com/office/officeart/2011/layout/TabList"/>
    <dgm:cxn modelId="{DA2FEB45-3A54-427E-B8D8-B320DA2521EE}" type="presParOf" srcId="{E85A92A7-6987-4028-82D1-083A5603BECF}" destId="{9EEE3CD6-4184-4583-8062-D6CB3A4CC6F0}" srcOrd="8" destOrd="0" presId="urn:microsoft.com/office/officeart/2011/layout/TabList"/>
    <dgm:cxn modelId="{2B7FF930-D58D-462B-B1AA-FF343379112C}" type="presParOf" srcId="{E85A92A7-6987-4028-82D1-083A5603BECF}" destId="{7772F4B3-AF22-47D7-85D7-B19A5CC9F086}" srcOrd="9" destOrd="0" presId="urn:microsoft.com/office/officeart/2011/layout/TabList"/>
    <dgm:cxn modelId="{6E7D1437-A508-44C2-A76D-0331543B2446}" type="presParOf" srcId="{7772F4B3-AF22-47D7-85D7-B19A5CC9F086}" destId="{D82ACAAE-9A09-428F-A11E-3F3EEFAEC9D5}" srcOrd="0" destOrd="0" presId="urn:microsoft.com/office/officeart/2011/layout/TabList"/>
    <dgm:cxn modelId="{F4076499-F29F-4FC5-BBBA-68A054DFB80F}" type="presParOf" srcId="{7772F4B3-AF22-47D7-85D7-B19A5CC9F086}" destId="{476E3AE9-6DA8-46AF-9B7A-8D54AE19B71D}" srcOrd="1" destOrd="0" presId="urn:microsoft.com/office/officeart/2011/layout/TabList"/>
    <dgm:cxn modelId="{0D15D0A3-B4E4-4127-8CC0-9544100D18BD}" type="presParOf" srcId="{7772F4B3-AF22-47D7-85D7-B19A5CC9F086}" destId="{5E98A2D8-ACF1-44EE-9E0F-9C45D73565D6}" srcOrd="2" destOrd="0" presId="urn:microsoft.com/office/officeart/2011/layout/TabList"/>
    <dgm:cxn modelId="{156F2676-EE04-4269-8F6A-CCD320CA88B4}" type="presParOf" srcId="{E85A92A7-6987-4028-82D1-083A5603BECF}" destId="{7766C3E4-7CD4-4871-99F1-58E33122CBB5}" srcOrd="10" destOrd="0" presId="urn:microsoft.com/office/officeart/2011/layout/TabList"/>
    <dgm:cxn modelId="{54A1CE00-FCCD-4C59-8555-D84D27D38267}" type="presParOf" srcId="{E85A92A7-6987-4028-82D1-083A5603BECF}" destId="{4385077D-2CAA-47CA-AA84-8AA2EACDD3D8}" srcOrd="11" destOrd="0" presId="urn:microsoft.com/office/officeart/2011/layout/TabList"/>
    <dgm:cxn modelId="{0B7D489B-30BA-4561-8C56-B39E1AA806BF}" type="presParOf" srcId="{E85A92A7-6987-4028-82D1-083A5603BECF}" destId="{812B1454-8119-40FD-9157-51908E68AF78}" srcOrd="12" destOrd="0" presId="urn:microsoft.com/office/officeart/2011/layout/TabList"/>
    <dgm:cxn modelId="{9C6B9FF0-3B1A-417A-884F-AF84BA6B319C}" type="presParOf" srcId="{812B1454-8119-40FD-9157-51908E68AF78}" destId="{12363F8C-977D-470C-A868-931A86AEFAD7}" srcOrd="0" destOrd="0" presId="urn:microsoft.com/office/officeart/2011/layout/TabList"/>
    <dgm:cxn modelId="{450B198B-326C-4427-A9BE-6FC3415291F7}" type="presParOf" srcId="{812B1454-8119-40FD-9157-51908E68AF78}" destId="{D544AD11-C671-40DD-8885-93A7E81621A8}" srcOrd="1" destOrd="0" presId="urn:microsoft.com/office/officeart/2011/layout/TabList"/>
    <dgm:cxn modelId="{45DF49BE-21C8-41F4-A725-7C12B106D590}" type="presParOf" srcId="{812B1454-8119-40FD-9157-51908E68AF78}" destId="{29F103BC-91E9-44C3-BDEC-5C1F988EBAC9}" srcOrd="2" destOrd="0" presId="urn:microsoft.com/office/officeart/2011/layout/TabList"/>
    <dgm:cxn modelId="{0DD63D21-1790-401A-8C3F-E2656BB6DBC9}" type="presParOf" srcId="{E85A92A7-6987-4028-82D1-083A5603BECF}" destId="{83D5A534-EB35-4E74-8F7D-F0C323A6741D}" srcOrd="13" destOrd="0" presId="urn:microsoft.com/office/officeart/2011/layout/Tab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91852E-383B-4896-9C23-D9C901179F69}" type="doc">
      <dgm:prSet loTypeId="urn:microsoft.com/office/officeart/2011/layout/TabList" loCatId="list" qsTypeId="urn:microsoft.com/office/officeart/2005/8/quickstyle/simple1" qsCatId="simple" csTypeId="urn:microsoft.com/office/officeart/2005/8/colors/accent2_2" csCatId="accent2" phldr="1"/>
      <dgm:spPr/>
      <dgm:t>
        <a:bodyPr/>
        <a:lstStyle/>
        <a:p>
          <a:endParaRPr lang="en-IN"/>
        </a:p>
      </dgm:t>
    </dgm:pt>
    <dgm:pt modelId="{BA02106F-8D3E-4F69-9F94-E3D76A797A35}">
      <dgm:prSet phldrT="[Text]"/>
      <dgm:spPr/>
      <dgm:t>
        <a:bodyPr/>
        <a:lstStyle/>
        <a:p>
          <a:r>
            <a:rPr lang="en-IN" dirty="0"/>
            <a:t>Job</a:t>
          </a:r>
        </a:p>
      </dgm:t>
    </dgm:pt>
    <dgm:pt modelId="{26B54867-FBEC-4DDD-A1BF-7AB10B0415C2}" type="parTrans" cxnId="{500C9529-3147-4D5D-9558-7FAC68DCBCAA}">
      <dgm:prSet/>
      <dgm:spPr/>
      <dgm:t>
        <a:bodyPr/>
        <a:lstStyle/>
        <a:p>
          <a:endParaRPr lang="en-IN"/>
        </a:p>
      </dgm:t>
    </dgm:pt>
    <dgm:pt modelId="{D1E5EB83-8BC7-4DE8-9017-3E3BC6E6D471}" type="sibTrans" cxnId="{500C9529-3147-4D5D-9558-7FAC68DCBCAA}">
      <dgm:prSet/>
      <dgm:spPr/>
      <dgm:t>
        <a:bodyPr/>
        <a:lstStyle/>
        <a:p>
          <a:endParaRPr lang="en-IN"/>
        </a:p>
      </dgm:t>
    </dgm:pt>
    <dgm:pt modelId="{1EEF9715-AA49-4084-8EE5-A909BF2FC24C}">
      <dgm:prSet phldrT="[Text]"/>
      <dgm:spPr/>
      <dgm:t>
        <a:bodyPr/>
        <a:lstStyle/>
        <a:p>
          <a:r>
            <a:rPr lang="en-IN" dirty="0"/>
            <a:t>Secret</a:t>
          </a:r>
        </a:p>
      </dgm:t>
    </dgm:pt>
    <dgm:pt modelId="{555DCDA7-1F87-422E-87B5-9BEE8BB6BCFE}" type="parTrans" cxnId="{4088845E-285D-4468-BB5F-E048FE4B1D2B}">
      <dgm:prSet/>
      <dgm:spPr/>
      <dgm:t>
        <a:bodyPr/>
        <a:lstStyle/>
        <a:p>
          <a:endParaRPr lang="en-IN"/>
        </a:p>
      </dgm:t>
    </dgm:pt>
    <dgm:pt modelId="{35997440-BED9-40B0-8B34-B7E7B551A4E7}" type="sibTrans" cxnId="{4088845E-285D-4468-BB5F-E048FE4B1D2B}">
      <dgm:prSet/>
      <dgm:spPr/>
      <dgm:t>
        <a:bodyPr/>
        <a:lstStyle/>
        <a:p>
          <a:endParaRPr lang="en-IN"/>
        </a:p>
      </dgm:t>
    </dgm:pt>
    <dgm:pt modelId="{0937EB2D-ECB9-4369-AC3A-F6F1DBA57EBA}">
      <dgm:prSet phldrT="[Text]"/>
      <dgm:spPr/>
      <dgm:t>
        <a:bodyPr/>
        <a:lstStyle/>
        <a:p>
          <a:endParaRPr lang="en-IN" dirty="0"/>
        </a:p>
      </dgm:t>
    </dgm:pt>
    <dgm:pt modelId="{8D02F50E-2601-4425-8306-854FA2CFAFA0}" type="parTrans" cxnId="{4CCA8F2B-7DF0-46D5-A451-1F7CC6E24073}">
      <dgm:prSet/>
      <dgm:spPr/>
      <dgm:t>
        <a:bodyPr/>
        <a:lstStyle/>
        <a:p>
          <a:endParaRPr lang="en-IN"/>
        </a:p>
      </dgm:t>
    </dgm:pt>
    <dgm:pt modelId="{0B813464-D0A4-4C80-8F17-F434B2E607F5}" type="sibTrans" cxnId="{4CCA8F2B-7DF0-46D5-A451-1F7CC6E24073}">
      <dgm:prSet/>
      <dgm:spPr/>
      <dgm:t>
        <a:bodyPr/>
        <a:lstStyle/>
        <a:p>
          <a:endParaRPr lang="en-IN"/>
        </a:p>
      </dgm:t>
    </dgm:pt>
    <dgm:pt modelId="{73373CBA-AB8C-474F-8275-8BFBBA32DCDA}">
      <dgm:prSet phldrT="[Text]"/>
      <dgm:spPr/>
      <dgm:t>
        <a:bodyPr/>
        <a:lstStyle/>
        <a:p>
          <a:pPr>
            <a:buNone/>
          </a:pPr>
          <a:r>
            <a:rPr lang="en-US" dirty="0">
              <a:solidFill>
                <a:schemeClr val="tx2"/>
              </a:solidFill>
            </a:rPr>
            <a:t>A Kubernetes Secret is an object used to store sensitive data, such as passwords, API keys, and certificates, securely. Secrets can be mounted to containers which can be used by the process</a:t>
          </a:r>
          <a:endParaRPr lang="en-IN" dirty="0">
            <a:solidFill>
              <a:schemeClr val="tx2"/>
            </a:solidFill>
          </a:endParaRPr>
        </a:p>
      </dgm:t>
    </dgm:pt>
    <dgm:pt modelId="{8999A739-0370-452A-A800-B686E8B3C712}" type="parTrans" cxnId="{4B78C8B3-AA8F-4050-9C9D-526097FAB113}">
      <dgm:prSet/>
      <dgm:spPr/>
      <dgm:t>
        <a:bodyPr/>
        <a:lstStyle/>
        <a:p>
          <a:endParaRPr lang="en-IN"/>
        </a:p>
      </dgm:t>
    </dgm:pt>
    <dgm:pt modelId="{499F577B-E4F2-4E67-A1B6-5D1F13B755C0}" type="sibTrans" cxnId="{4B78C8B3-AA8F-4050-9C9D-526097FAB113}">
      <dgm:prSet/>
      <dgm:spPr/>
      <dgm:t>
        <a:bodyPr/>
        <a:lstStyle/>
        <a:p>
          <a:endParaRPr lang="en-IN"/>
        </a:p>
      </dgm:t>
    </dgm:pt>
    <dgm:pt modelId="{5CD346A4-DCBF-4EA1-B2B9-C8DEEB7729EE}">
      <dgm:prSet phldrT="[Text]"/>
      <dgm:spPr/>
      <dgm:t>
        <a:bodyPr/>
        <a:lstStyle/>
        <a:p>
          <a:r>
            <a:rPr lang="en-IN" dirty="0"/>
            <a:t>Config Map</a:t>
          </a:r>
        </a:p>
      </dgm:t>
    </dgm:pt>
    <dgm:pt modelId="{35FB2DAE-4FA0-4316-8942-223A841982B0}" type="parTrans" cxnId="{4DC2AD17-370F-41F8-A13B-572452FD5A7D}">
      <dgm:prSet/>
      <dgm:spPr/>
      <dgm:t>
        <a:bodyPr/>
        <a:lstStyle/>
        <a:p>
          <a:endParaRPr lang="en-IN"/>
        </a:p>
      </dgm:t>
    </dgm:pt>
    <dgm:pt modelId="{CAEBB828-684E-4E9E-98FB-9835E5DA6940}" type="sibTrans" cxnId="{4DC2AD17-370F-41F8-A13B-572452FD5A7D}">
      <dgm:prSet/>
      <dgm:spPr/>
      <dgm:t>
        <a:bodyPr/>
        <a:lstStyle/>
        <a:p>
          <a:endParaRPr lang="en-IN"/>
        </a:p>
      </dgm:t>
    </dgm:pt>
    <dgm:pt modelId="{F83395FF-14CC-4B55-8BEA-6961D58620BB}">
      <dgm:prSet phldrT="[Text]"/>
      <dgm:spPr/>
      <dgm:t>
        <a:bodyPr/>
        <a:lstStyle/>
        <a:p>
          <a:endParaRPr lang="en-IN" dirty="0"/>
        </a:p>
      </dgm:t>
    </dgm:pt>
    <dgm:pt modelId="{94DD9EA6-C2F1-4DBF-8705-5BBD0852C7C4}" type="parTrans" cxnId="{6AB091A5-F8E5-4A57-9132-33D76566A19B}">
      <dgm:prSet/>
      <dgm:spPr/>
      <dgm:t>
        <a:bodyPr/>
        <a:lstStyle/>
        <a:p>
          <a:endParaRPr lang="en-IN"/>
        </a:p>
      </dgm:t>
    </dgm:pt>
    <dgm:pt modelId="{46026156-C8F3-4A82-BAC6-F51B96AD38F3}" type="sibTrans" cxnId="{6AB091A5-F8E5-4A57-9132-33D76566A19B}">
      <dgm:prSet/>
      <dgm:spPr/>
      <dgm:t>
        <a:bodyPr/>
        <a:lstStyle/>
        <a:p>
          <a:endParaRPr lang="en-IN"/>
        </a:p>
      </dgm:t>
    </dgm:pt>
    <dgm:pt modelId="{A8F1A0D6-C92A-4B82-9C4F-D045218FE45B}">
      <dgm:prSet phldrT="[Text]"/>
      <dgm:spPr/>
      <dgm:t>
        <a:bodyPr/>
        <a:lstStyle/>
        <a:p>
          <a:pPr>
            <a:buFont typeface="Arial" panose="020B0604020202020204" pitchFamily="34" charset="0"/>
            <a:buNone/>
          </a:pPr>
          <a:r>
            <a:rPr lang="en-US" dirty="0">
              <a:solidFill>
                <a:schemeClr val="tx2"/>
              </a:solidFill>
            </a:rPr>
            <a:t>A Kubernetes </a:t>
          </a:r>
          <a:r>
            <a:rPr lang="en-US" dirty="0" err="1">
              <a:solidFill>
                <a:schemeClr val="tx2"/>
              </a:solidFill>
            </a:rPr>
            <a:t>ConfigMap</a:t>
          </a:r>
          <a:r>
            <a:rPr lang="en-US" dirty="0">
              <a:solidFill>
                <a:schemeClr val="tx2"/>
              </a:solidFill>
            </a:rPr>
            <a:t> is an object used to store non-sensitive configuration data in key-value pairs. It allows separating configuration from application code, making deployments more flexible and manageable. It can be mounted as files to a container</a:t>
          </a:r>
          <a:endParaRPr lang="en-IN" dirty="0">
            <a:solidFill>
              <a:schemeClr val="tx2"/>
            </a:solidFill>
          </a:endParaRPr>
        </a:p>
      </dgm:t>
    </dgm:pt>
    <dgm:pt modelId="{34E7437B-92F8-4511-9E65-EBCD740550AF}" type="parTrans" cxnId="{9A1E0907-905D-4D37-8ED0-F7648D3DF675}">
      <dgm:prSet/>
      <dgm:spPr/>
      <dgm:t>
        <a:bodyPr/>
        <a:lstStyle/>
        <a:p>
          <a:endParaRPr lang="en-IN"/>
        </a:p>
      </dgm:t>
    </dgm:pt>
    <dgm:pt modelId="{4F5C9EFF-450E-475A-9B5D-4B1E59B171B8}" type="sibTrans" cxnId="{9A1E0907-905D-4D37-8ED0-F7648D3DF675}">
      <dgm:prSet/>
      <dgm:spPr/>
      <dgm:t>
        <a:bodyPr/>
        <a:lstStyle/>
        <a:p>
          <a:endParaRPr lang="en-IN"/>
        </a:p>
      </dgm:t>
    </dgm:pt>
    <dgm:pt modelId="{4DFEAC23-1A6C-46DB-BA0E-40B746C55F43}">
      <dgm:prSet phldrT="[Text]"/>
      <dgm:spPr/>
      <dgm:t>
        <a:bodyPr/>
        <a:lstStyle/>
        <a:p>
          <a:r>
            <a:rPr lang="en-IN" dirty="0"/>
            <a:t>Service</a:t>
          </a:r>
        </a:p>
      </dgm:t>
    </dgm:pt>
    <dgm:pt modelId="{C0179E8A-A514-470D-895E-84A599546B0D}" type="parTrans" cxnId="{953516ED-8205-49C7-BBF3-38E509849AD0}">
      <dgm:prSet/>
      <dgm:spPr/>
      <dgm:t>
        <a:bodyPr/>
        <a:lstStyle/>
        <a:p>
          <a:endParaRPr lang="en-IN"/>
        </a:p>
      </dgm:t>
    </dgm:pt>
    <dgm:pt modelId="{A6EB2253-010C-4D36-8414-9B6C713BB2FD}" type="sibTrans" cxnId="{953516ED-8205-49C7-BBF3-38E509849AD0}">
      <dgm:prSet/>
      <dgm:spPr/>
      <dgm:t>
        <a:bodyPr/>
        <a:lstStyle/>
        <a:p>
          <a:endParaRPr lang="en-IN"/>
        </a:p>
      </dgm:t>
    </dgm:pt>
    <dgm:pt modelId="{EB9A41E1-2841-4E03-AD59-8F887F3990AD}">
      <dgm:prSet phldrT="[Text]"/>
      <dgm:spPr/>
      <dgm:t>
        <a:bodyPr/>
        <a:lstStyle/>
        <a:p>
          <a:r>
            <a:rPr lang="en-IN" dirty="0"/>
            <a:t>Ingress</a:t>
          </a:r>
        </a:p>
      </dgm:t>
    </dgm:pt>
    <dgm:pt modelId="{772FCA04-56DA-47FA-95C5-4ACD1CCA0856}" type="parTrans" cxnId="{EBC217FD-1724-4599-B6BC-AD4B605B5456}">
      <dgm:prSet/>
      <dgm:spPr/>
      <dgm:t>
        <a:bodyPr/>
        <a:lstStyle/>
        <a:p>
          <a:endParaRPr lang="en-IN"/>
        </a:p>
      </dgm:t>
    </dgm:pt>
    <dgm:pt modelId="{A4F74022-35B3-43D6-AD90-BB0C369DEDB7}" type="sibTrans" cxnId="{EBC217FD-1724-4599-B6BC-AD4B605B5456}">
      <dgm:prSet/>
      <dgm:spPr/>
      <dgm:t>
        <a:bodyPr/>
        <a:lstStyle/>
        <a:p>
          <a:endParaRPr lang="en-IN"/>
        </a:p>
      </dgm:t>
    </dgm:pt>
    <dgm:pt modelId="{AF242455-2542-4E63-AB4E-75B55039152A}">
      <dgm:prSet phldrT="[Text]"/>
      <dgm:spPr/>
      <dgm:t>
        <a:bodyPr/>
        <a:lstStyle/>
        <a:p>
          <a:pPr>
            <a:buFontTx/>
            <a:buNone/>
          </a:pPr>
          <a:r>
            <a:rPr lang="en-US" dirty="0">
              <a:solidFill>
                <a:schemeClr val="tx2"/>
              </a:solidFill>
            </a:rPr>
            <a:t>A Kubernetes Job is a workload resource that runs a task once (or a fixed number of times) and ensures it completes successfully. Unlike Deployments, which manage long-running applications, Jobs are used for short-lived, batch processing tasks. There is  special kind of workload in k8s called </a:t>
          </a:r>
          <a:r>
            <a:rPr lang="en-US" dirty="0" err="1">
              <a:solidFill>
                <a:schemeClr val="tx2"/>
              </a:solidFill>
            </a:rPr>
            <a:t>cron</a:t>
          </a:r>
          <a:r>
            <a:rPr lang="en-US" dirty="0">
              <a:solidFill>
                <a:schemeClr val="tx2"/>
              </a:solidFill>
            </a:rPr>
            <a:t>-job which runs at scheduled interval</a:t>
          </a:r>
          <a:endParaRPr lang="en-IN" dirty="0">
            <a:solidFill>
              <a:schemeClr val="tx2"/>
            </a:solidFill>
          </a:endParaRPr>
        </a:p>
      </dgm:t>
    </dgm:pt>
    <dgm:pt modelId="{7E17D2E3-16CB-4608-9022-B5C56836BEC1}" type="parTrans" cxnId="{8F253C51-49B1-47F0-B30A-53FE8835A93F}">
      <dgm:prSet/>
      <dgm:spPr/>
      <dgm:t>
        <a:bodyPr/>
        <a:lstStyle/>
        <a:p>
          <a:endParaRPr lang="en-IN"/>
        </a:p>
      </dgm:t>
    </dgm:pt>
    <dgm:pt modelId="{BE5CB55F-1BE2-4DF5-86C1-3FE51086B39F}" type="sibTrans" cxnId="{8F253C51-49B1-47F0-B30A-53FE8835A93F}">
      <dgm:prSet/>
      <dgm:spPr/>
      <dgm:t>
        <a:bodyPr/>
        <a:lstStyle/>
        <a:p>
          <a:endParaRPr lang="en-IN"/>
        </a:p>
      </dgm:t>
    </dgm:pt>
    <dgm:pt modelId="{D5C03E19-C88F-491B-9BA3-EB242D84EABD}">
      <dgm:prSet phldrT="[Text]"/>
      <dgm:spPr/>
      <dgm:t>
        <a:bodyPr/>
        <a:lstStyle/>
        <a:p>
          <a:endParaRPr lang="en-IN" dirty="0"/>
        </a:p>
      </dgm:t>
    </dgm:pt>
    <dgm:pt modelId="{A929E578-0EA6-4792-B301-FFA872EE18A8}" type="parTrans" cxnId="{CF452BB3-7CA9-46A1-9C07-807C35B6A056}">
      <dgm:prSet/>
      <dgm:spPr/>
      <dgm:t>
        <a:bodyPr/>
        <a:lstStyle/>
        <a:p>
          <a:endParaRPr lang="en-IN"/>
        </a:p>
      </dgm:t>
    </dgm:pt>
    <dgm:pt modelId="{898B8B0A-83FA-4015-A132-725384AE5EB3}" type="sibTrans" cxnId="{CF452BB3-7CA9-46A1-9C07-807C35B6A056}">
      <dgm:prSet/>
      <dgm:spPr/>
      <dgm:t>
        <a:bodyPr/>
        <a:lstStyle/>
        <a:p>
          <a:endParaRPr lang="en-IN"/>
        </a:p>
      </dgm:t>
    </dgm:pt>
    <dgm:pt modelId="{EF4D49F1-98BE-4AE7-A412-6B82FEA1F911}">
      <dgm:prSet phldrT="[Text]"/>
      <dgm:spPr/>
      <dgm:t>
        <a:bodyPr/>
        <a:lstStyle/>
        <a:p>
          <a:pPr>
            <a:buNone/>
          </a:pPr>
          <a:r>
            <a:rPr lang="en-US" dirty="0">
              <a:solidFill>
                <a:schemeClr val="tx2"/>
              </a:solidFill>
            </a:rPr>
            <a:t>A Kubernetes Service is an abstraction that exposes a group of Pods and provides a stable network endpoint for communication. Since Pods are restart and can be replaced, a Service ensures consistent access to them.</a:t>
          </a:r>
          <a:endParaRPr lang="en-IN" dirty="0">
            <a:solidFill>
              <a:schemeClr val="tx2"/>
            </a:solidFill>
          </a:endParaRPr>
        </a:p>
      </dgm:t>
    </dgm:pt>
    <dgm:pt modelId="{4DA4A2F4-2C56-418F-A23C-BC605F8C89EF}" type="parTrans" cxnId="{A123525F-DD0E-4478-B271-21744AE21550}">
      <dgm:prSet/>
      <dgm:spPr/>
      <dgm:t>
        <a:bodyPr/>
        <a:lstStyle/>
        <a:p>
          <a:endParaRPr lang="en-IN"/>
        </a:p>
      </dgm:t>
    </dgm:pt>
    <dgm:pt modelId="{EF2E0F93-6899-49B5-AA42-B7CAE8D8DA8B}" type="sibTrans" cxnId="{A123525F-DD0E-4478-B271-21744AE21550}">
      <dgm:prSet/>
      <dgm:spPr/>
      <dgm:t>
        <a:bodyPr/>
        <a:lstStyle/>
        <a:p>
          <a:endParaRPr lang="en-IN"/>
        </a:p>
      </dgm:t>
    </dgm:pt>
    <dgm:pt modelId="{5957DC42-8496-4672-83B3-9A5931104DE6}">
      <dgm:prSet phldrT="[Text]"/>
      <dgm:spPr/>
      <dgm:t>
        <a:bodyPr/>
        <a:lstStyle/>
        <a:p>
          <a:endParaRPr lang="en-IN" dirty="0"/>
        </a:p>
      </dgm:t>
    </dgm:pt>
    <dgm:pt modelId="{35DC2CF6-7D9E-4870-9264-1278FCA9A055}" type="parTrans" cxnId="{814DF80B-315B-4B95-B19A-25EEE612B74F}">
      <dgm:prSet/>
      <dgm:spPr/>
      <dgm:t>
        <a:bodyPr/>
        <a:lstStyle/>
        <a:p>
          <a:endParaRPr lang="en-IN"/>
        </a:p>
      </dgm:t>
    </dgm:pt>
    <dgm:pt modelId="{3F030BB8-A9E6-48DA-A5A9-9B1CE655E096}" type="sibTrans" cxnId="{814DF80B-315B-4B95-B19A-25EEE612B74F}">
      <dgm:prSet/>
      <dgm:spPr/>
      <dgm:t>
        <a:bodyPr/>
        <a:lstStyle/>
        <a:p>
          <a:endParaRPr lang="en-IN"/>
        </a:p>
      </dgm:t>
    </dgm:pt>
    <dgm:pt modelId="{1F50F06F-2260-4E3C-9E98-AE5EE0C4C7D0}">
      <dgm:prSet phldrT="[Text]"/>
      <dgm:spPr/>
      <dgm:t>
        <a:bodyPr/>
        <a:lstStyle/>
        <a:p>
          <a:pPr>
            <a:buNone/>
          </a:pPr>
          <a:r>
            <a:rPr lang="en-US" dirty="0">
              <a:solidFill>
                <a:schemeClr val="tx2"/>
              </a:solidFill>
            </a:rPr>
            <a:t>Ingress is a Kubernetes API object that manages external access to services inside a cluster, typically using HTTP(S). It acts as a reverse proxy and load balancer, allowing users to define rules for routing external traffic to internal services.</a:t>
          </a:r>
          <a:endParaRPr lang="en-IN" dirty="0">
            <a:solidFill>
              <a:schemeClr val="tx2"/>
            </a:solidFill>
          </a:endParaRPr>
        </a:p>
      </dgm:t>
    </dgm:pt>
    <dgm:pt modelId="{82D8D9D8-D933-42A5-ABC6-DECCC7A84BAD}" type="parTrans" cxnId="{D52DD210-5FC0-4873-B9AB-83D3F5001E37}">
      <dgm:prSet/>
      <dgm:spPr/>
      <dgm:t>
        <a:bodyPr/>
        <a:lstStyle/>
        <a:p>
          <a:endParaRPr lang="en-IN"/>
        </a:p>
      </dgm:t>
    </dgm:pt>
    <dgm:pt modelId="{9FC3B7A0-963E-4656-81E6-C6B6C623B566}" type="sibTrans" cxnId="{D52DD210-5FC0-4873-B9AB-83D3F5001E37}">
      <dgm:prSet/>
      <dgm:spPr/>
      <dgm:t>
        <a:bodyPr/>
        <a:lstStyle/>
        <a:p>
          <a:endParaRPr lang="en-IN"/>
        </a:p>
      </dgm:t>
    </dgm:pt>
    <dgm:pt modelId="{933A286A-AD17-4AD1-950A-5AD6A3C3848C}">
      <dgm:prSet phldrT="[Text]"/>
      <dgm:spPr/>
      <dgm:t>
        <a:bodyPr/>
        <a:lstStyle/>
        <a:p>
          <a:endParaRPr lang="en-IN" dirty="0"/>
        </a:p>
      </dgm:t>
    </dgm:pt>
    <dgm:pt modelId="{37B1B789-C770-468D-A944-FEE754D1A540}" type="parTrans" cxnId="{DEC86DCD-9B5C-42FF-9001-E05D85FAF08C}">
      <dgm:prSet/>
      <dgm:spPr/>
      <dgm:t>
        <a:bodyPr/>
        <a:lstStyle/>
        <a:p>
          <a:endParaRPr lang="en-IN"/>
        </a:p>
      </dgm:t>
    </dgm:pt>
    <dgm:pt modelId="{BDEDA7D1-31BC-42E7-AD0C-BB33B711B779}" type="sibTrans" cxnId="{DEC86DCD-9B5C-42FF-9001-E05D85FAF08C}">
      <dgm:prSet/>
      <dgm:spPr/>
      <dgm:t>
        <a:bodyPr/>
        <a:lstStyle/>
        <a:p>
          <a:endParaRPr lang="en-IN"/>
        </a:p>
      </dgm:t>
    </dgm:pt>
    <dgm:pt modelId="{E85A92A7-6987-4028-82D1-083A5603BECF}" type="pres">
      <dgm:prSet presAssocID="{6D91852E-383B-4896-9C23-D9C901179F69}" presName="Name0" presStyleCnt="0">
        <dgm:presLayoutVars>
          <dgm:chMax/>
          <dgm:chPref val="3"/>
          <dgm:dir/>
          <dgm:animOne val="branch"/>
          <dgm:animLvl val="lvl"/>
        </dgm:presLayoutVars>
      </dgm:prSet>
      <dgm:spPr/>
    </dgm:pt>
    <dgm:pt modelId="{7AA6612E-8DB0-45F8-91AF-B330A216EA3D}" type="pres">
      <dgm:prSet presAssocID="{BA02106F-8D3E-4F69-9F94-E3D76A797A35}" presName="composite" presStyleCnt="0"/>
      <dgm:spPr/>
    </dgm:pt>
    <dgm:pt modelId="{A9614BB7-D6C7-4435-B437-18E154CB3859}" type="pres">
      <dgm:prSet presAssocID="{BA02106F-8D3E-4F69-9F94-E3D76A797A35}" presName="FirstChild" presStyleLbl="revTx" presStyleIdx="0" presStyleCnt="10">
        <dgm:presLayoutVars>
          <dgm:chMax val="0"/>
          <dgm:chPref val="0"/>
          <dgm:bulletEnabled val="1"/>
        </dgm:presLayoutVars>
      </dgm:prSet>
      <dgm:spPr/>
    </dgm:pt>
    <dgm:pt modelId="{9C50BCFC-D54F-4BA2-9552-7F0FE6B4C80D}" type="pres">
      <dgm:prSet presAssocID="{BA02106F-8D3E-4F69-9F94-E3D76A797A35}" presName="Parent" presStyleLbl="alignNode1" presStyleIdx="0" presStyleCnt="5">
        <dgm:presLayoutVars>
          <dgm:chMax val="3"/>
          <dgm:chPref val="3"/>
          <dgm:bulletEnabled val="1"/>
        </dgm:presLayoutVars>
      </dgm:prSet>
      <dgm:spPr/>
    </dgm:pt>
    <dgm:pt modelId="{A3B3F0F8-69D5-4CC8-8914-9F227F7B5115}" type="pres">
      <dgm:prSet presAssocID="{BA02106F-8D3E-4F69-9F94-E3D76A797A35}" presName="Accent" presStyleLbl="parChTrans1D1" presStyleIdx="0" presStyleCnt="5"/>
      <dgm:spPr/>
    </dgm:pt>
    <dgm:pt modelId="{8102EF08-2D89-410F-9777-5630572C5832}" type="pres">
      <dgm:prSet presAssocID="{BA02106F-8D3E-4F69-9F94-E3D76A797A35}" presName="Child" presStyleLbl="revTx" presStyleIdx="1" presStyleCnt="10">
        <dgm:presLayoutVars>
          <dgm:chMax val="0"/>
          <dgm:chPref val="0"/>
          <dgm:bulletEnabled val="1"/>
        </dgm:presLayoutVars>
      </dgm:prSet>
      <dgm:spPr/>
    </dgm:pt>
    <dgm:pt modelId="{05C05591-627F-44F5-97B4-1E1631597354}" type="pres">
      <dgm:prSet presAssocID="{D1E5EB83-8BC7-4DE8-9017-3E3BC6E6D471}" presName="sibTrans" presStyleCnt="0"/>
      <dgm:spPr/>
    </dgm:pt>
    <dgm:pt modelId="{27C8A4E5-6CB7-453A-BBB6-CF70ED79ECE9}" type="pres">
      <dgm:prSet presAssocID="{1EEF9715-AA49-4084-8EE5-A909BF2FC24C}" presName="composite" presStyleCnt="0"/>
      <dgm:spPr/>
    </dgm:pt>
    <dgm:pt modelId="{CF61EFEB-DCC9-4211-BF27-6C17205E86C1}" type="pres">
      <dgm:prSet presAssocID="{1EEF9715-AA49-4084-8EE5-A909BF2FC24C}" presName="FirstChild" presStyleLbl="revTx" presStyleIdx="2" presStyleCnt="10">
        <dgm:presLayoutVars>
          <dgm:chMax val="0"/>
          <dgm:chPref val="0"/>
          <dgm:bulletEnabled val="1"/>
        </dgm:presLayoutVars>
      </dgm:prSet>
      <dgm:spPr/>
    </dgm:pt>
    <dgm:pt modelId="{476383A8-643B-42C9-8981-564251140A05}" type="pres">
      <dgm:prSet presAssocID="{1EEF9715-AA49-4084-8EE5-A909BF2FC24C}" presName="Parent" presStyleLbl="alignNode1" presStyleIdx="1" presStyleCnt="5">
        <dgm:presLayoutVars>
          <dgm:chMax val="3"/>
          <dgm:chPref val="3"/>
          <dgm:bulletEnabled val="1"/>
        </dgm:presLayoutVars>
      </dgm:prSet>
      <dgm:spPr/>
    </dgm:pt>
    <dgm:pt modelId="{BDAD71F0-8990-4EC4-99B6-D916E386FD63}" type="pres">
      <dgm:prSet presAssocID="{1EEF9715-AA49-4084-8EE5-A909BF2FC24C}" presName="Accent" presStyleLbl="parChTrans1D1" presStyleIdx="1" presStyleCnt="5"/>
      <dgm:spPr/>
    </dgm:pt>
    <dgm:pt modelId="{7195114F-D131-4C84-8B92-B164332B3FAA}" type="pres">
      <dgm:prSet presAssocID="{1EEF9715-AA49-4084-8EE5-A909BF2FC24C}" presName="Child" presStyleLbl="revTx" presStyleIdx="3" presStyleCnt="10">
        <dgm:presLayoutVars>
          <dgm:chMax val="0"/>
          <dgm:chPref val="0"/>
          <dgm:bulletEnabled val="1"/>
        </dgm:presLayoutVars>
      </dgm:prSet>
      <dgm:spPr/>
    </dgm:pt>
    <dgm:pt modelId="{D61D1507-80E6-4F62-87D3-1A05466D14D7}" type="pres">
      <dgm:prSet presAssocID="{35997440-BED9-40B0-8B34-B7E7B551A4E7}" presName="sibTrans" presStyleCnt="0"/>
      <dgm:spPr/>
    </dgm:pt>
    <dgm:pt modelId="{14CA3899-5EAB-4C50-9C58-80B7CB34F2C0}" type="pres">
      <dgm:prSet presAssocID="{5CD346A4-DCBF-4EA1-B2B9-C8DEEB7729EE}" presName="composite" presStyleCnt="0"/>
      <dgm:spPr/>
    </dgm:pt>
    <dgm:pt modelId="{4DE09FB2-9492-4AE6-836C-CC8EB459781A}" type="pres">
      <dgm:prSet presAssocID="{5CD346A4-DCBF-4EA1-B2B9-C8DEEB7729EE}" presName="FirstChild" presStyleLbl="revTx" presStyleIdx="4" presStyleCnt="10">
        <dgm:presLayoutVars>
          <dgm:chMax val="0"/>
          <dgm:chPref val="0"/>
          <dgm:bulletEnabled val="1"/>
        </dgm:presLayoutVars>
      </dgm:prSet>
      <dgm:spPr/>
    </dgm:pt>
    <dgm:pt modelId="{F1107D10-0233-48CF-91E7-E922D72F80A5}" type="pres">
      <dgm:prSet presAssocID="{5CD346A4-DCBF-4EA1-B2B9-C8DEEB7729EE}" presName="Parent" presStyleLbl="alignNode1" presStyleIdx="2" presStyleCnt="5">
        <dgm:presLayoutVars>
          <dgm:chMax val="3"/>
          <dgm:chPref val="3"/>
          <dgm:bulletEnabled val="1"/>
        </dgm:presLayoutVars>
      </dgm:prSet>
      <dgm:spPr/>
    </dgm:pt>
    <dgm:pt modelId="{F3484DF9-1364-477E-8299-9A5397453C46}" type="pres">
      <dgm:prSet presAssocID="{5CD346A4-DCBF-4EA1-B2B9-C8DEEB7729EE}" presName="Accent" presStyleLbl="parChTrans1D1" presStyleIdx="2" presStyleCnt="5"/>
      <dgm:spPr/>
    </dgm:pt>
    <dgm:pt modelId="{ED2BE4A4-5982-459E-ADB7-A9908D561E72}" type="pres">
      <dgm:prSet presAssocID="{5CD346A4-DCBF-4EA1-B2B9-C8DEEB7729EE}" presName="Child" presStyleLbl="revTx" presStyleIdx="5" presStyleCnt="10">
        <dgm:presLayoutVars>
          <dgm:chMax val="0"/>
          <dgm:chPref val="0"/>
          <dgm:bulletEnabled val="1"/>
        </dgm:presLayoutVars>
      </dgm:prSet>
      <dgm:spPr/>
    </dgm:pt>
    <dgm:pt modelId="{9EEE3CD6-4184-4583-8062-D6CB3A4CC6F0}" type="pres">
      <dgm:prSet presAssocID="{CAEBB828-684E-4E9E-98FB-9835E5DA6940}" presName="sibTrans" presStyleCnt="0"/>
      <dgm:spPr/>
    </dgm:pt>
    <dgm:pt modelId="{7772F4B3-AF22-47D7-85D7-B19A5CC9F086}" type="pres">
      <dgm:prSet presAssocID="{4DFEAC23-1A6C-46DB-BA0E-40B746C55F43}" presName="composite" presStyleCnt="0"/>
      <dgm:spPr/>
    </dgm:pt>
    <dgm:pt modelId="{D82ACAAE-9A09-428F-A11E-3F3EEFAEC9D5}" type="pres">
      <dgm:prSet presAssocID="{4DFEAC23-1A6C-46DB-BA0E-40B746C55F43}" presName="FirstChild" presStyleLbl="revTx" presStyleIdx="6" presStyleCnt="10">
        <dgm:presLayoutVars>
          <dgm:chMax val="0"/>
          <dgm:chPref val="0"/>
          <dgm:bulletEnabled val="1"/>
        </dgm:presLayoutVars>
      </dgm:prSet>
      <dgm:spPr/>
    </dgm:pt>
    <dgm:pt modelId="{476E3AE9-6DA8-46AF-9B7A-8D54AE19B71D}" type="pres">
      <dgm:prSet presAssocID="{4DFEAC23-1A6C-46DB-BA0E-40B746C55F43}" presName="Parent" presStyleLbl="alignNode1" presStyleIdx="3" presStyleCnt="5">
        <dgm:presLayoutVars>
          <dgm:chMax val="3"/>
          <dgm:chPref val="3"/>
          <dgm:bulletEnabled val="1"/>
        </dgm:presLayoutVars>
      </dgm:prSet>
      <dgm:spPr/>
    </dgm:pt>
    <dgm:pt modelId="{5E98A2D8-ACF1-44EE-9E0F-9C45D73565D6}" type="pres">
      <dgm:prSet presAssocID="{4DFEAC23-1A6C-46DB-BA0E-40B746C55F43}" presName="Accent" presStyleLbl="parChTrans1D1" presStyleIdx="3" presStyleCnt="5"/>
      <dgm:spPr/>
    </dgm:pt>
    <dgm:pt modelId="{7766C3E4-7CD4-4871-99F1-58E33122CBB5}" type="pres">
      <dgm:prSet presAssocID="{4DFEAC23-1A6C-46DB-BA0E-40B746C55F43}" presName="Child" presStyleLbl="revTx" presStyleIdx="7" presStyleCnt="10">
        <dgm:presLayoutVars>
          <dgm:chMax val="0"/>
          <dgm:chPref val="0"/>
          <dgm:bulletEnabled val="1"/>
        </dgm:presLayoutVars>
      </dgm:prSet>
      <dgm:spPr/>
    </dgm:pt>
    <dgm:pt modelId="{4385077D-2CAA-47CA-AA84-8AA2EACDD3D8}" type="pres">
      <dgm:prSet presAssocID="{A6EB2253-010C-4D36-8414-9B6C713BB2FD}" presName="sibTrans" presStyleCnt="0"/>
      <dgm:spPr/>
    </dgm:pt>
    <dgm:pt modelId="{812B1454-8119-40FD-9157-51908E68AF78}" type="pres">
      <dgm:prSet presAssocID="{EB9A41E1-2841-4E03-AD59-8F887F3990AD}" presName="composite" presStyleCnt="0"/>
      <dgm:spPr/>
    </dgm:pt>
    <dgm:pt modelId="{12363F8C-977D-470C-A868-931A86AEFAD7}" type="pres">
      <dgm:prSet presAssocID="{EB9A41E1-2841-4E03-AD59-8F887F3990AD}" presName="FirstChild" presStyleLbl="revTx" presStyleIdx="8" presStyleCnt="10">
        <dgm:presLayoutVars>
          <dgm:chMax val="0"/>
          <dgm:chPref val="0"/>
          <dgm:bulletEnabled val="1"/>
        </dgm:presLayoutVars>
      </dgm:prSet>
      <dgm:spPr/>
    </dgm:pt>
    <dgm:pt modelId="{D544AD11-C671-40DD-8885-93A7E81621A8}" type="pres">
      <dgm:prSet presAssocID="{EB9A41E1-2841-4E03-AD59-8F887F3990AD}" presName="Parent" presStyleLbl="alignNode1" presStyleIdx="4" presStyleCnt="5">
        <dgm:presLayoutVars>
          <dgm:chMax val="3"/>
          <dgm:chPref val="3"/>
          <dgm:bulletEnabled val="1"/>
        </dgm:presLayoutVars>
      </dgm:prSet>
      <dgm:spPr/>
    </dgm:pt>
    <dgm:pt modelId="{29F103BC-91E9-44C3-BDEC-5C1F988EBAC9}" type="pres">
      <dgm:prSet presAssocID="{EB9A41E1-2841-4E03-AD59-8F887F3990AD}" presName="Accent" presStyleLbl="parChTrans1D1" presStyleIdx="4" presStyleCnt="5"/>
      <dgm:spPr/>
    </dgm:pt>
    <dgm:pt modelId="{83D5A534-EB35-4E74-8F7D-F0C323A6741D}" type="pres">
      <dgm:prSet presAssocID="{EB9A41E1-2841-4E03-AD59-8F887F3990AD}" presName="Child" presStyleLbl="revTx" presStyleIdx="9" presStyleCnt="10">
        <dgm:presLayoutVars>
          <dgm:chMax val="0"/>
          <dgm:chPref val="0"/>
          <dgm:bulletEnabled val="1"/>
        </dgm:presLayoutVars>
      </dgm:prSet>
      <dgm:spPr/>
    </dgm:pt>
  </dgm:ptLst>
  <dgm:cxnLst>
    <dgm:cxn modelId="{9A1E0907-905D-4D37-8ED0-F7648D3DF675}" srcId="{5CD346A4-DCBF-4EA1-B2B9-C8DEEB7729EE}" destId="{A8F1A0D6-C92A-4B82-9C4F-D045218FE45B}" srcOrd="1" destOrd="0" parTransId="{34E7437B-92F8-4511-9E65-EBCD740550AF}" sibTransId="{4F5C9EFF-450E-475A-9B5D-4B1E59B171B8}"/>
    <dgm:cxn modelId="{814DF80B-315B-4B95-B19A-25EEE612B74F}" srcId="{4DFEAC23-1A6C-46DB-BA0E-40B746C55F43}" destId="{5957DC42-8496-4672-83B3-9A5931104DE6}" srcOrd="0" destOrd="0" parTransId="{35DC2CF6-7D9E-4870-9264-1278FCA9A055}" sibTransId="{3F030BB8-A9E6-48DA-A5A9-9B1CE655E096}"/>
    <dgm:cxn modelId="{D52DD210-5FC0-4873-B9AB-83D3F5001E37}" srcId="{EB9A41E1-2841-4E03-AD59-8F887F3990AD}" destId="{1F50F06F-2260-4E3C-9E98-AE5EE0C4C7D0}" srcOrd="1" destOrd="0" parTransId="{82D8D9D8-D933-42A5-ABC6-DECCC7A84BAD}" sibTransId="{9FC3B7A0-963E-4656-81E6-C6B6C623B566}"/>
    <dgm:cxn modelId="{4DC2AD17-370F-41F8-A13B-572452FD5A7D}" srcId="{6D91852E-383B-4896-9C23-D9C901179F69}" destId="{5CD346A4-DCBF-4EA1-B2B9-C8DEEB7729EE}" srcOrd="2" destOrd="0" parTransId="{35FB2DAE-4FA0-4316-8942-223A841982B0}" sibTransId="{CAEBB828-684E-4E9E-98FB-9835E5DA6940}"/>
    <dgm:cxn modelId="{500C9529-3147-4D5D-9558-7FAC68DCBCAA}" srcId="{6D91852E-383B-4896-9C23-D9C901179F69}" destId="{BA02106F-8D3E-4F69-9F94-E3D76A797A35}" srcOrd="0" destOrd="0" parTransId="{26B54867-FBEC-4DDD-A1BF-7AB10B0415C2}" sibTransId="{D1E5EB83-8BC7-4DE8-9017-3E3BC6E6D471}"/>
    <dgm:cxn modelId="{4CCA8F2B-7DF0-46D5-A451-1F7CC6E24073}" srcId="{1EEF9715-AA49-4084-8EE5-A909BF2FC24C}" destId="{0937EB2D-ECB9-4369-AC3A-F6F1DBA57EBA}" srcOrd="0" destOrd="0" parTransId="{8D02F50E-2601-4425-8306-854FA2CFAFA0}" sibTransId="{0B813464-D0A4-4C80-8F17-F434B2E607F5}"/>
    <dgm:cxn modelId="{59565F2C-17AA-4B9C-B65D-33E4F958F2FB}" type="presOf" srcId="{BA02106F-8D3E-4F69-9F94-E3D76A797A35}" destId="{9C50BCFC-D54F-4BA2-9552-7F0FE6B4C80D}" srcOrd="0" destOrd="0" presId="urn:microsoft.com/office/officeart/2011/layout/TabList"/>
    <dgm:cxn modelId="{69ADD831-DE81-4AA1-B0F5-E052FBC68895}" type="presOf" srcId="{1F50F06F-2260-4E3C-9E98-AE5EE0C4C7D0}" destId="{83D5A534-EB35-4E74-8F7D-F0C323A6741D}" srcOrd="0" destOrd="0" presId="urn:microsoft.com/office/officeart/2011/layout/TabList"/>
    <dgm:cxn modelId="{499D3436-D328-4594-8457-3FD379071134}" type="presOf" srcId="{EF4D49F1-98BE-4AE7-A412-6B82FEA1F911}" destId="{7766C3E4-7CD4-4871-99F1-58E33122CBB5}" srcOrd="0" destOrd="0" presId="urn:microsoft.com/office/officeart/2011/layout/TabList"/>
    <dgm:cxn modelId="{4088845E-285D-4468-BB5F-E048FE4B1D2B}" srcId="{6D91852E-383B-4896-9C23-D9C901179F69}" destId="{1EEF9715-AA49-4084-8EE5-A909BF2FC24C}" srcOrd="1" destOrd="0" parTransId="{555DCDA7-1F87-422E-87B5-9BEE8BB6BCFE}" sibTransId="{35997440-BED9-40B0-8B34-B7E7B551A4E7}"/>
    <dgm:cxn modelId="{A123525F-DD0E-4478-B271-21744AE21550}" srcId="{4DFEAC23-1A6C-46DB-BA0E-40B746C55F43}" destId="{EF4D49F1-98BE-4AE7-A412-6B82FEA1F911}" srcOrd="1" destOrd="0" parTransId="{4DA4A2F4-2C56-418F-A23C-BC605F8C89EF}" sibTransId="{EF2E0F93-6899-49B5-AA42-B7CAE8D8DA8B}"/>
    <dgm:cxn modelId="{4B90554C-0629-4AE1-AAE9-7D4C8DD6AA16}" type="presOf" srcId="{0937EB2D-ECB9-4369-AC3A-F6F1DBA57EBA}" destId="{CF61EFEB-DCC9-4211-BF27-6C17205E86C1}" srcOrd="0" destOrd="0" presId="urn:microsoft.com/office/officeart/2011/layout/TabList"/>
    <dgm:cxn modelId="{86F3454D-09B1-4FF1-8B63-A3B5BC6F1092}" type="presOf" srcId="{933A286A-AD17-4AD1-950A-5AD6A3C3848C}" destId="{12363F8C-977D-470C-A868-931A86AEFAD7}" srcOrd="0" destOrd="0" presId="urn:microsoft.com/office/officeart/2011/layout/TabList"/>
    <dgm:cxn modelId="{8F253C51-49B1-47F0-B30A-53FE8835A93F}" srcId="{BA02106F-8D3E-4F69-9F94-E3D76A797A35}" destId="{AF242455-2542-4E63-AB4E-75B55039152A}" srcOrd="1" destOrd="0" parTransId="{7E17D2E3-16CB-4608-9022-B5C56836BEC1}" sibTransId="{BE5CB55F-1BE2-4DF5-86C1-3FE51086B39F}"/>
    <dgm:cxn modelId="{C830D054-2D30-40FC-A977-5D52EB4B2095}" type="presOf" srcId="{6D91852E-383B-4896-9C23-D9C901179F69}" destId="{E85A92A7-6987-4028-82D1-083A5603BECF}" srcOrd="0" destOrd="0" presId="urn:microsoft.com/office/officeart/2011/layout/TabList"/>
    <dgm:cxn modelId="{6F308482-6B20-4158-B8F9-3C709F59571F}" type="presOf" srcId="{A8F1A0D6-C92A-4B82-9C4F-D045218FE45B}" destId="{ED2BE4A4-5982-459E-ADB7-A9908D561E72}" srcOrd="0" destOrd="0" presId="urn:microsoft.com/office/officeart/2011/layout/TabList"/>
    <dgm:cxn modelId="{E56D9495-7BF8-4B44-A97C-2F690E52B1D8}" type="presOf" srcId="{EB9A41E1-2841-4E03-AD59-8F887F3990AD}" destId="{D544AD11-C671-40DD-8885-93A7E81621A8}" srcOrd="0" destOrd="0" presId="urn:microsoft.com/office/officeart/2011/layout/TabList"/>
    <dgm:cxn modelId="{B4DED69C-527D-4DFB-80BA-E96896AA59DE}" type="presOf" srcId="{AF242455-2542-4E63-AB4E-75B55039152A}" destId="{8102EF08-2D89-410F-9777-5630572C5832}" srcOrd="0" destOrd="0" presId="urn:microsoft.com/office/officeart/2011/layout/TabList"/>
    <dgm:cxn modelId="{9E849DA1-13F6-416B-89A3-4C4EB1F706EA}" type="presOf" srcId="{73373CBA-AB8C-474F-8275-8BFBBA32DCDA}" destId="{7195114F-D131-4C84-8B92-B164332B3FAA}" srcOrd="0" destOrd="0" presId="urn:microsoft.com/office/officeart/2011/layout/TabList"/>
    <dgm:cxn modelId="{6AB091A5-F8E5-4A57-9132-33D76566A19B}" srcId="{5CD346A4-DCBF-4EA1-B2B9-C8DEEB7729EE}" destId="{F83395FF-14CC-4B55-8BEA-6961D58620BB}" srcOrd="0" destOrd="0" parTransId="{94DD9EA6-C2F1-4DBF-8705-5BBD0852C7C4}" sibTransId="{46026156-C8F3-4A82-BAC6-F51B96AD38F3}"/>
    <dgm:cxn modelId="{8198F9A9-D45E-46F1-8150-196FBE93B972}" type="presOf" srcId="{5957DC42-8496-4672-83B3-9A5931104DE6}" destId="{D82ACAAE-9A09-428F-A11E-3F3EEFAEC9D5}" srcOrd="0" destOrd="0" presId="urn:microsoft.com/office/officeart/2011/layout/TabList"/>
    <dgm:cxn modelId="{CF452BB3-7CA9-46A1-9C07-807C35B6A056}" srcId="{BA02106F-8D3E-4F69-9F94-E3D76A797A35}" destId="{D5C03E19-C88F-491B-9BA3-EB242D84EABD}" srcOrd="0" destOrd="0" parTransId="{A929E578-0EA6-4792-B301-FFA872EE18A8}" sibTransId="{898B8B0A-83FA-4015-A132-725384AE5EB3}"/>
    <dgm:cxn modelId="{4B78C8B3-AA8F-4050-9C9D-526097FAB113}" srcId="{1EEF9715-AA49-4084-8EE5-A909BF2FC24C}" destId="{73373CBA-AB8C-474F-8275-8BFBBA32DCDA}" srcOrd="1" destOrd="0" parTransId="{8999A739-0370-452A-A800-B686E8B3C712}" sibTransId="{499F577B-E4F2-4E67-A1B6-5D1F13B755C0}"/>
    <dgm:cxn modelId="{3CABDFB3-BCAB-4BFD-A023-2D507738578D}" type="presOf" srcId="{1EEF9715-AA49-4084-8EE5-A909BF2FC24C}" destId="{476383A8-643B-42C9-8981-564251140A05}" srcOrd="0" destOrd="0" presId="urn:microsoft.com/office/officeart/2011/layout/TabList"/>
    <dgm:cxn modelId="{903D4BC9-8138-46F2-9985-CC15D647587B}" type="presOf" srcId="{4DFEAC23-1A6C-46DB-BA0E-40B746C55F43}" destId="{476E3AE9-6DA8-46AF-9B7A-8D54AE19B71D}" srcOrd="0" destOrd="0" presId="urn:microsoft.com/office/officeart/2011/layout/TabList"/>
    <dgm:cxn modelId="{DEC86DCD-9B5C-42FF-9001-E05D85FAF08C}" srcId="{EB9A41E1-2841-4E03-AD59-8F887F3990AD}" destId="{933A286A-AD17-4AD1-950A-5AD6A3C3848C}" srcOrd="0" destOrd="0" parTransId="{37B1B789-C770-468D-A944-FEE754D1A540}" sibTransId="{BDEDA7D1-31BC-42E7-AD0C-BB33B711B779}"/>
    <dgm:cxn modelId="{DB9F02DF-42F9-4CD4-B15B-6C59DE36516D}" type="presOf" srcId="{D5C03E19-C88F-491B-9BA3-EB242D84EABD}" destId="{A9614BB7-D6C7-4435-B437-18E154CB3859}" srcOrd="0" destOrd="0" presId="urn:microsoft.com/office/officeart/2011/layout/TabList"/>
    <dgm:cxn modelId="{3D61F2E3-5EB3-451A-83C9-F0C7C5BFD880}" type="presOf" srcId="{5CD346A4-DCBF-4EA1-B2B9-C8DEEB7729EE}" destId="{F1107D10-0233-48CF-91E7-E922D72F80A5}" srcOrd="0" destOrd="0" presId="urn:microsoft.com/office/officeart/2011/layout/TabList"/>
    <dgm:cxn modelId="{953516ED-8205-49C7-BBF3-38E509849AD0}" srcId="{6D91852E-383B-4896-9C23-D9C901179F69}" destId="{4DFEAC23-1A6C-46DB-BA0E-40B746C55F43}" srcOrd="3" destOrd="0" parTransId="{C0179E8A-A514-470D-895E-84A599546B0D}" sibTransId="{A6EB2253-010C-4D36-8414-9B6C713BB2FD}"/>
    <dgm:cxn modelId="{667C41F5-82BD-47FC-B898-34F2D5DE8340}" type="presOf" srcId="{F83395FF-14CC-4B55-8BEA-6961D58620BB}" destId="{4DE09FB2-9492-4AE6-836C-CC8EB459781A}" srcOrd="0" destOrd="0" presId="urn:microsoft.com/office/officeart/2011/layout/TabList"/>
    <dgm:cxn modelId="{EBC217FD-1724-4599-B6BC-AD4B605B5456}" srcId="{6D91852E-383B-4896-9C23-D9C901179F69}" destId="{EB9A41E1-2841-4E03-AD59-8F887F3990AD}" srcOrd="4" destOrd="0" parTransId="{772FCA04-56DA-47FA-95C5-4ACD1CCA0856}" sibTransId="{A4F74022-35B3-43D6-AD90-BB0C369DEDB7}"/>
    <dgm:cxn modelId="{CBF0D23C-73BD-4C7D-9B8F-B91F423ECDE9}" type="presParOf" srcId="{E85A92A7-6987-4028-82D1-083A5603BECF}" destId="{7AA6612E-8DB0-45F8-91AF-B330A216EA3D}" srcOrd="0" destOrd="0" presId="urn:microsoft.com/office/officeart/2011/layout/TabList"/>
    <dgm:cxn modelId="{B0F14D7F-E606-418E-85E8-7B25F87F45DC}" type="presParOf" srcId="{7AA6612E-8DB0-45F8-91AF-B330A216EA3D}" destId="{A9614BB7-D6C7-4435-B437-18E154CB3859}" srcOrd="0" destOrd="0" presId="urn:microsoft.com/office/officeart/2011/layout/TabList"/>
    <dgm:cxn modelId="{F9F6A600-5C72-4A33-B444-DC2F953B70A7}" type="presParOf" srcId="{7AA6612E-8DB0-45F8-91AF-B330A216EA3D}" destId="{9C50BCFC-D54F-4BA2-9552-7F0FE6B4C80D}" srcOrd="1" destOrd="0" presId="urn:microsoft.com/office/officeart/2011/layout/TabList"/>
    <dgm:cxn modelId="{8B0D3E91-9528-4F7E-937E-19B78ABF8BC3}" type="presParOf" srcId="{7AA6612E-8DB0-45F8-91AF-B330A216EA3D}" destId="{A3B3F0F8-69D5-4CC8-8914-9F227F7B5115}" srcOrd="2" destOrd="0" presId="urn:microsoft.com/office/officeart/2011/layout/TabList"/>
    <dgm:cxn modelId="{D2EFCA58-9D66-4F22-8D14-2007E8403043}" type="presParOf" srcId="{E85A92A7-6987-4028-82D1-083A5603BECF}" destId="{8102EF08-2D89-410F-9777-5630572C5832}" srcOrd="1" destOrd="0" presId="urn:microsoft.com/office/officeart/2011/layout/TabList"/>
    <dgm:cxn modelId="{76604902-B8A2-48EE-9D15-77637F80AAE3}" type="presParOf" srcId="{E85A92A7-6987-4028-82D1-083A5603BECF}" destId="{05C05591-627F-44F5-97B4-1E1631597354}" srcOrd="2" destOrd="0" presId="urn:microsoft.com/office/officeart/2011/layout/TabList"/>
    <dgm:cxn modelId="{1CEBA85B-20D3-4876-9405-33C89323B7B4}" type="presParOf" srcId="{E85A92A7-6987-4028-82D1-083A5603BECF}" destId="{27C8A4E5-6CB7-453A-BBB6-CF70ED79ECE9}" srcOrd="3" destOrd="0" presId="urn:microsoft.com/office/officeart/2011/layout/TabList"/>
    <dgm:cxn modelId="{56792D5A-A59A-4291-B799-75FAC3E5F009}" type="presParOf" srcId="{27C8A4E5-6CB7-453A-BBB6-CF70ED79ECE9}" destId="{CF61EFEB-DCC9-4211-BF27-6C17205E86C1}" srcOrd="0" destOrd="0" presId="urn:microsoft.com/office/officeart/2011/layout/TabList"/>
    <dgm:cxn modelId="{E59E1F34-04E0-4267-AC8C-2A6D1FE8AF97}" type="presParOf" srcId="{27C8A4E5-6CB7-453A-BBB6-CF70ED79ECE9}" destId="{476383A8-643B-42C9-8981-564251140A05}" srcOrd="1" destOrd="0" presId="urn:microsoft.com/office/officeart/2011/layout/TabList"/>
    <dgm:cxn modelId="{E8E3E456-DFA4-4062-A78E-C5307FEAF4CE}" type="presParOf" srcId="{27C8A4E5-6CB7-453A-BBB6-CF70ED79ECE9}" destId="{BDAD71F0-8990-4EC4-99B6-D916E386FD63}" srcOrd="2" destOrd="0" presId="urn:microsoft.com/office/officeart/2011/layout/TabList"/>
    <dgm:cxn modelId="{2C59AF1F-337B-4424-B201-9EFD755ED0E3}" type="presParOf" srcId="{E85A92A7-6987-4028-82D1-083A5603BECF}" destId="{7195114F-D131-4C84-8B92-B164332B3FAA}" srcOrd="4" destOrd="0" presId="urn:microsoft.com/office/officeart/2011/layout/TabList"/>
    <dgm:cxn modelId="{CBB08771-CD90-4B4B-A5D6-0B98463600B4}" type="presParOf" srcId="{E85A92A7-6987-4028-82D1-083A5603BECF}" destId="{D61D1507-80E6-4F62-87D3-1A05466D14D7}" srcOrd="5" destOrd="0" presId="urn:microsoft.com/office/officeart/2011/layout/TabList"/>
    <dgm:cxn modelId="{4730E4A7-4C08-4BF9-90C1-9F7C463C4C52}" type="presParOf" srcId="{E85A92A7-6987-4028-82D1-083A5603BECF}" destId="{14CA3899-5EAB-4C50-9C58-80B7CB34F2C0}" srcOrd="6" destOrd="0" presId="urn:microsoft.com/office/officeart/2011/layout/TabList"/>
    <dgm:cxn modelId="{06210850-569F-4BDE-9D0F-8F329DC005A8}" type="presParOf" srcId="{14CA3899-5EAB-4C50-9C58-80B7CB34F2C0}" destId="{4DE09FB2-9492-4AE6-836C-CC8EB459781A}" srcOrd="0" destOrd="0" presId="urn:microsoft.com/office/officeart/2011/layout/TabList"/>
    <dgm:cxn modelId="{D38D0B47-53C0-42F8-9B53-154807C9CD72}" type="presParOf" srcId="{14CA3899-5EAB-4C50-9C58-80B7CB34F2C0}" destId="{F1107D10-0233-48CF-91E7-E922D72F80A5}" srcOrd="1" destOrd="0" presId="urn:microsoft.com/office/officeart/2011/layout/TabList"/>
    <dgm:cxn modelId="{DAF30B57-04FF-4DAD-B146-E721BCADF7B4}" type="presParOf" srcId="{14CA3899-5EAB-4C50-9C58-80B7CB34F2C0}" destId="{F3484DF9-1364-477E-8299-9A5397453C46}" srcOrd="2" destOrd="0" presId="urn:microsoft.com/office/officeart/2011/layout/TabList"/>
    <dgm:cxn modelId="{F1B1F8AE-6059-42DA-8C31-F94AC688C2E8}" type="presParOf" srcId="{E85A92A7-6987-4028-82D1-083A5603BECF}" destId="{ED2BE4A4-5982-459E-ADB7-A9908D561E72}" srcOrd="7" destOrd="0" presId="urn:microsoft.com/office/officeart/2011/layout/TabList"/>
    <dgm:cxn modelId="{DA2FEB45-3A54-427E-B8D8-B320DA2521EE}" type="presParOf" srcId="{E85A92A7-6987-4028-82D1-083A5603BECF}" destId="{9EEE3CD6-4184-4583-8062-D6CB3A4CC6F0}" srcOrd="8" destOrd="0" presId="urn:microsoft.com/office/officeart/2011/layout/TabList"/>
    <dgm:cxn modelId="{2B7FF930-D58D-462B-B1AA-FF343379112C}" type="presParOf" srcId="{E85A92A7-6987-4028-82D1-083A5603BECF}" destId="{7772F4B3-AF22-47D7-85D7-B19A5CC9F086}" srcOrd="9" destOrd="0" presId="urn:microsoft.com/office/officeart/2011/layout/TabList"/>
    <dgm:cxn modelId="{6E7D1437-A508-44C2-A76D-0331543B2446}" type="presParOf" srcId="{7772F4B3-AF22-47D7-85D7-B19A5CC9F086}" destId="{D82ACAAE-9A09-428F-A11E-3F3EEFAEC9D5}" srcOrd="0" destOrd="0" presId="urn:microsoft.com/office/officeart/2011/layout/TabList"/>
    <dgm:cxn modelId="{F4076499-F29F-4FC5-BBBA-68A054DFB80F}" type="presParOf" srcId="{7772F4B3-AF22-47D7-85D7-B19A5CC9F086}" destId="{476E3AE9-6DA8-46AF-9B7A-8D54AE19B71D}" srcOrd="1" destOrd="0" presId="urn:microsoft.com/office/officeart/2011/layout/TabList"/>
    <dgm:cxn modelId="{0D15D0A3-B4E4-4127-8CC0-9544100D18BD}" type="presParOf" srcId="{7772F4B3-AF22-47D7-85D7-B19A5CC9F086}" destId="{5E98A2D8-ACF1-44EE-9E0F-9C45D73565D6}" srcOrd="2" destOrd="0" presId="urn:microsoft.com/office/officeart/2011/layout/TabList"/>
    <dgm:cxn modelId="{156F2676-EE04-4269-8F6A-CCD320CA88B4}" type="presParOf" srcId="{E85A92A7-6987-4028-82D1-083A5603BECF}" destId="{7766C3E4-7CD4-4871-99F1-58E33122CBB5}" srcOrd="10" destOrd="0" presId="urn:microsoft.com/office/officeart/2011/layout/TabList"/>
    <dgm:cxn modelId="{54A1CE00-FCCD-4C59-8555-D84D27D38267}" type="presParOf" srcId="{E85A92A7-6987-4028-82D1-083A5603BECF}" destId="{4385077D-2CAA-47CA-AA84-8AA2EACDD3D8}" srcOrd="11" destOrd="0" presId="urn:microsoft.com/office/officeart/2011/layout/TabList"/>
    <dgm:cxn modelId="{0B7D489B-30BA-4561-8C56-B39E1AA806BF}" type="presParOf" srcId="{E85A92A7-6987-4028-82D1-083A5603BECF}" destId="{812B1454-8119-40FD-9157-51908E68AF78}" srcOrd="12" destOrd="0" presId="urn:microsoft.com/office/officeart/2011/layout/TabList"/>
    <dgm:cxn modelId="{9C6B9FF0-3B1A-417A-884F-AF84BA6B319C}" type="presParOf" srcId="{812B1454-8119-40FD-9157-51908E68AF78}" destId="{12363F8C-977D-470C-A868-931A86AEFAD7}" srcOrd="0" destOrd="0" presId="urn:microsoft.com/office/officeart/2011/layout/TabList"/>
    <dgm:cxn modelId="{450B198B-326C-4427-A9BE-6FC3415291F7}" type="presParOf" srcId="{812B1454-8119-40FD-9157-51908E68AF78}" destId="{D544AD11-C671-40DD-8885-93A7E81621A8}" srcOrd="1" destOrd="0" presId="urn:microsoft.com/office/officeart/2011/layout/TabList"/>
    <dgm:cxn modelId="{45DF49BE-21C8-41F4-A725-7C12B106D590}" type="presParOf" srcId="{812B1454-8119-40FD-9157-51908E68AF78}" destId="{29F103BC-91E9-44C3-BDEC-5C1F988EBAC9}" srcOrd="2" destOrd="0" presId="urn:microsoft.com/office/officeart/2011/layout/TabList"/>
    <dgm:cxn modelId="{0DD63D21-1790-401A-8C3F-E2656BB6DBC9}" type="presParOf" srcId="{E85A92A7-6987-4028-82D1-083A5603BECF}" destId="{83D5A534-EB35-4E74-8F7D-F0C323A6741D}" srcOrd="13" destOrd="0" presId="urn:microsoft.com/office/officeart/2011/layout/Tab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91852E-383B-4896-9C23-D9C901179F69}" type="doc">
      <dgm:prSet loTypeId="urn:microsoft.com/office/officeart/2011/layout/TabList" loCatId="list" qsTypeId="urn:microsoft.com/office/officeart/2005/8/quickstyle/simple1" qsCatId="simple" csTypeId="urn:microsoft.com/office/officeart/2005/8/colors/accent2_2" csCatId="accent2" phldr="1"/>
      <dgm:spPr/>
      <dgm:t>
        <a:bodyPr/>
        <a:lstStyle/>
        <a:p>
          <a:endParaRPr lang="en-IN"/>
        </a:p>
      </dgm:t>
    </dgm:pt>
    <dgm:pt modelId="{BA02106F-8D3E-4F69-9F94-E3D76A797A35}">
      <dgm:prSet phldrT="[Text]"/>
      <dgm:spPr/>
      <dgm:t>
        <a:bodyPr/>
        <a:lstStyle/>
        <a:p>
          <a:r>
            <a:rPr lang="en-IN" dirty="0"/>
            <a:t>Persistent</a:t>
          </a:r>
          <a:r>
            <a:rPr lang="en-IN" baseline="0" dirty="0"/>
            <a:t> volume</a:t>
          </a:r>
          <a:endParaRPr lang="en-IN" dirty="0"/>
        </a:p>
      </dgm:t>
    </dgm:pt>
    <dgm:pt modelId="{26B54867-FBEC-4DDD-A1BF-7AB10B0415C2}" type="parTrans" cxnId="{500C9529-3147-4D5D-9558-7FAC68DCBCAA}">
      <dgm:prSet/>
      <dgm:spPr/>
      <dgm:t>
        <a:bodyPr/>
        <a:lstStyle/>
        <a:p>
          <a:endParaRPr lang="en-IN"/>
        </a:p>
      </dgm:t>
    </dgm:pt>
    <dgm:pt modelId="{D1E5EB83-8BC7-4DE8-9017-3E3BC6E6D471}" type="sibTrans" cxnId="{500C9529-3147-4D5D-9558-7FAC68DCBCAA}">
      <dgm:prSet/>
      <dgm:spPr/>
      <dgm:t>
        <a:bodyPr/>
        <a:lstStyle/>
        <a:p>
          <a:endParaRPr lang="en-IN"/>
        </a:p>
      </dgm:t>
    </dgm:pt>
    <dgm:pt modelId="{1EEF9715-AA49-4084-8EE5-A909BF2FC24C}">
      <dgm:prSet phldrT="[Text]"/>
      <dgm:spPr/>
      <dgm:t>
        <a:bodyPr/>
        <a:lstStyle/>
        <a:p>
          <a:r>
            <a:rPr lang="en-IN" dirty="0"/>
            <a:t>Horizontal</a:t>
          </a:r>
          <a:r>
            <a:rPr lang="en-IN" baseline="0" dirty="0"/>
            <a:t> Pod </a:t>
          </a:r>
          <a:r>
            <a:rPr lang="en-IN" baseline="0" dirty="0" err="1"/>
            <a:t>Autoscaler</a:t>
          </a:r>
          <a:r>
            <a:rPr lang="en-IN" baseline="0" dirty="0"/>
            <a:t> (HPA)</a:t>
          </a:r>
          <a:endParaRPr lang="en-IN" dirty="0"/>
        </a:p>
      </dgm:t>
    </dgm:pt>
    <dgm:pt modelId="{555DCDA7-1F87-422E-87B5-9BEE8BB6BCFE}" type="parTrans" cxnId="{4088845E-285D-4468-BB5F-E048FE4B1D2B}">
      <dgm:prSet/>
      <dgm:spPr/>
      <dgm:t>
        <a:bodyPr/>
        <a:lstStyle/>
        <a:p>
          <a:endParaRPr lang="en-IN"/>
        </a:p>
      </dgm:t>
    </dgm:pt>
    <dgm:pt modelId="{35997440-BED9-40B0-8B34-B7E7B551A4E7}" type="sibTrans" cxnId="{4088845E-285D-4468-BB5F-E048FE4B1D2B}">
      <dgm:prSet/>
      <dgm:spPr/>
      <dgm:t>
        <a:bodyPr/>
        <a:lstStyle/>
        <a:p>
          <a:endParaRPr lang="en-IN"/>
        </a:p>
      </dgm:t>
    </dgm:pt>
    <dgm:pt modelId="{0937EB2D-ECB9-4369-AC3A-F6F1DBA57EBA}">
      <dgm:prSet phldrT="[Text]"/>
      <dgm:spPr/>
      <dgm:t>
        <a:bodyPr/>
        <a:lstStyle/>
        <a:p>
          <a:endParaRPr lang="en-IN" dirty="0"/>
        </a:p>
      </dgm:t>
    </dgm:pt>
    <dgm:pt modelId="{8D02F50E-2601-4425-8306-854FA2CFAFA0}" type="parTrans" cxnId="{4CCA8F2B-7DF0-46D5-A451-1F7CC6E24073}">
      <dgm:prSet/>
      <dgm:spPr/>
      <dgm:t>
        <a:bodyPr/>
        <a:lstStyle/>
        <a:p>
          <a:endParaRPr lang="en-IN"/>
        </a:p>
      </dgm:t>
    </dgm:pt>
    <dgm:pt modelId="{0B813464-D0A4-4C80-8F17-F434B2E607F5}" type="sibTrans" cxnId="{4CCA8F2B-7DF0-46D5-A451-1F7CC6E24073}">
      <dgm:prSet/>
      <dgm:spPr/>
      <dgm:t>
        <a:bodyPr/>
        <a:lstStyle/>
        <a:p>
          <a:endParaRPr lang="en-IN"/>
        </a:p>
      </dgm:t>
    </dgm:pt>
    <dgm:pt modelId="{73373CBA-AB8C-474F-8275-8BFBBA32DCDA}">
      <dgm:prSet phldrT="[Text]"/>
      <dgm:spPr/>
      <dgm:t>
        <a:bodyPr/>
        <a:lstStyle/>
        <a:p>
          <a:pPr>
            <a:buNone/>
          </a:pPr>
          <a:r>
            <a:rPr lang="en-US" dirty="0">
              <a:solidFill>
                <a:schemeClr val="tx2"/>
              </a:solidFill>
            </a:rPr>
            <a:t>Horizontal Pod Autoscaler (HPA) is a Kubernetes feature that automatically scales the number of Pod replicas in a Deployment, </a:t>
          </a:r>
          <a:r>
            <a:rPr lang="en-US" dirty="0" err="1">
              <a:solidFill>
                <a:schemeClr val="tx2"/>
              </a:solidFill>
            </a:rPr>
            <a:t>StatefulSet</a:t>
          </a:r>
          <a:r>
            <a:rPr lang="en-US" dirty="0">
              <a:solidFill>
                <a:schemeClr val="tx2"/>
              </a:solidFill>
            </a:rPr>
            <a:t>, or </a:t>
          </a:r>
          <a:r>
            <a:rPr lang="en-US" dirty="0" err="1">
              <a:solidFill>
                <a:schemeClr val="tx2"/>
              </a:solidFill>
            </a:rPr>
            <a:t>ReplicaSet</a:t>
          </a:r>
          <a:r>
            <a:rPr lang="en-US" dirty="0">
              <a:solidFill>
                <a:schemeClr val="tx2"/>
              </a:solidFill>
            </a:rPr>
            <a:t> based on CPU, memory, or custom metrics.</a:t>
          </a:r>
          <a:endParaRPr lang="en-IN" dirty="0">
            <a:solidFill>
              <a:schemeClr val="tx2"/>
            </a:solidFill>
          </a:endParaRPr>
        </a:p>
      </dgm:t>
    </dgm:pt>
    <dgm:pt modelId="{8999A739-0370-452A-A800-B686E8B3C712}" type="parTrans" cxnId="{4B78C8B3-AA8F-4050-9C9D-526097FAB113}">
      <dgm:prSet/>
      <dgm:spPr/>
      <dgm:t>
        <a:bodyPr/>
        <a:lstStyle/>
        <a:p>
          <a:endParaRPr lang="en-IN"/>
        </a:p>
      </dgm:t>
    </dgm:pt>
    <dgm:pt modelId="{499F577B-E4F2-4E67-A1B6-5D1F13B755C0}" type="sibTrans" cxnId="{4B78C8B3-AA8F-4050-9C9D-526097FAB113}">
      <dgm:prSet/>
      <dgm:spPr/>
      <dgm:t>
        <a:bodyPr/>
        <a:lstStyle/>
        <a:p>
          <a:endParaRPr lang="en-IN"/>
        </a:p>
      </dgm:t>
    </dgm:pt>
    <dgm:pt modelId="{5CD346A4-DCBF-4EA1-B2B9-C8DEEB7729EE}">
      <dgm:prSet phldrT="[Text]"/>
      <dgm:spPr/>
      <dgm:t>
        <a:bodyPr/>
        <a:lstStyle/>
        <a:p>
          <a:r>
            <a:rPr lang="en-IN" dirty="0"/>
            <a:t>Cluster Auto Scaler</a:t>
          </a:r>
        </a:p>
      </dgm:t>
    </dgm:pt>
    <dgm:pt modelId="{35FB2DAE-4FA0-4316-8942-223A841982B0}" type="parTrans" cxnId="{4DC2AD17-370F-41F8-A13B-572452FD5A7D}">
      <dgm:prSet/>
      <dgm:spPr/>
      <dgm:t>
        <a:bodyPr/>
        <a:lstStyle/>
        <a:p>
          <a:endParaRPr lang="en-IN"/>
        </a:p>
      </dgm:t>
    </dgm:pt>
    <dgm:pt modelId="{CAEBB828-684E-4E9E-98FB-9835E5DA6940}" type="sibTrans" cxnId="{4DC2AD17-370F-41F8-A13B-572452FD5A7D}">
      <dgm:prSet/>
      <dgm:spPr/>
      <dgm:t>
        <a:bodyPr/>
        <a:lstStyle/>
        <a:p>
          <a:endParaRPr lang="en-IN"/>
        </a:p>
      </dgm:t>
    </dgm:pt>
    <dgm:pt modelId="{F83395FF-14CC-4B55-8BEA-6961D58620BB}">
      <dgm:prSet phldrT="[Text]"/>
      <dgm:spPr/>
      <dgm:t>
        <a:bodyPr/>
        <a:lstStyle/>
        <a:p>
          <a:endParaRPr lang="en-IN" dirty="0"/>
        </a:p>
      </dgm:t>
    </dgm:pt>
    <dgm:pt modelId="{94DD9EA6-C2F1-4DBF-8705-5BBD0852C7C4}" type="parTrans" cxnId="{6AB091A5-F8E5-4A57-9132-33D76566A19B}">
      <dgm:prSet/>
      <dgm:spPr/>
      <dgm:t>
        <a:bodyPr/>
        <a:lstStyle/>
        <a:p>
          <a:endParaRPr lang="en-IN"/>
        </a:p>
      </dgm:t>
    </dgm:pt>
    <dgm:pt modelId="{46026156-C8F3-4A82-BAC6-F51B96AD38F3}" type="sibTrans" cxnId="{6AB091A5-F8E5-4A57-9132-33D76566A19B}">
      <dgm:prSet/>
      <dgm:spPr/>
      <dgm:t>
        <a:bodyPr/>
        <a:lstStyle/>
        <a:p>
          <a:endParaRPr lang="en-IN"/>
        </a:p>
      </dgm:t>
    </dgm:pt>
    <dgm:pt modelId="{A8F1A0D6-C92A-4B82-9C4F-D045218FE45B}">
      <dgm:prSet phldrT="[Text]"/>
      <dgm:spPr/>
      <dgm:t>
        <a:bodyPr/>
        <a:lstStyle/>
        <a:p>
          <a:pPr>
            <a:buFont typeface="Arial" panose="020B0604020202020204" pitchFamily="34" charset="0"/>
            <a:buNone/>
          </a:pPr>
          <a:r>
            <a:rPr lang="en-US" dirty="0">
              <a:solidFill>
                <a:schemeClr val="tx2"/>
              </a:solidFill>
            </a:rPr>
            <a:t>Cluster Autoscaler (CA) is a Kubernetes component that automatically scales the number of worker nodes in a cluster based on workload demands. It ensures that, New nodes are added when Pods can’t be scheduled due to insufficient resources and Idle nodes are removed when they are no longer needed.</a:t>
          </a:r>
          <a:endParaRPr lang="en-IN" dirty="0">
            <a:solidFill>
              <a:schemeClr val="tx2"/>
            </a:solidFill>
          </a:endParaRPr>
        </a:p>
      </dgm:t>
    </dgm:pt>
    <dgm:pt modelId="{34E7437B-92F8-4511-9E65-EBCD740550AF}" type="parTrans" cxnId="{9A1E0907-905D-4D37-8ED0-F7648D3DF675}">
      <dgm:prSet/>
      <dgm:spPr/>
      <dgm:t>
        <a:bodyPr/>
        <a:lstStyle/>
        <a:p>
          <a:endParaRPr lang="en-IN"/>
        </a:p>
      </dgm:t>
    </dgm:pt>
    <dgm:pt modelId="{4F5C9EFF-450E-475A-9B5D-4B1E59B171B8}" type="sibTrans" cxnId="{9A1E0907-905D-4D37-8ED0-F7648D3DF675}">
      <dgm:prSet/>
      <dgm:spPr/>
      <dgm:t>
        <a:bodyPr/>
        <a:lstStyle/>
        <a:p>
          <a:endParaRPr lang="en-IN"/>
        </a:p>
      </dgm:t>
    </dgm:pt>
    <dgm:pt modelId="{4DFEAC23-1A6C-46DB-BA0E-40B746C55F43}">
      <dgm:prSet phldrT="[Text]"/>
      <dgm:spPr/>
      <dgm:t>
        <a:bodyPr/>
        <a:lstStyle/>
        <a:p>
          <a:r>
            <a:rPr lang="en-IN" dirty="0"/>
            <a:t>Service Account</a:t>
          </a:r>
        </a:p>
      </dgm:t>
    </dgm:pt>
    <dgm:pt modelId="{C0179E8A-A514-470D-895E-84A599546B0D}" type="parTrans" cxnId="{953516ED-8205-49C7-BBF3-38E509849AD0}">
      <dgm:prSet/>
      <dgm:spPr/>
      <dgm:t>
        <a:bodyPr/>
        <a:lstStyle/>
        <a:p>
          <a:endParaRPr lang="en-IN"/>
        </a:p>
      </dgm:t>
    </dgm:pt>
    <dgm:pt modelId="{A6EB2253-010C-4D36-8414-9B6C713BB2FD}" type="sibTrans" cxnId="{953516ED-8205-49C7-BBF3-38E509849AD0}">
      <dgm:prSet/>
      <dgm:spPr/>
      <dgm:t>
        <a:bodyPr/>
        <a:lstStyle/>
        <a:p>
          <a:endParaRPr lang="en-IN"/>
        </a:p>
      </dgm:t>
    </dgm:pt>
    <dgm:pt modelId="{AF242455-2542-4E63-AB4E-75B55039152A}">
      <dgm:prSet phldrT="[Text]"/>
      <dgm:spPr/>
      <dgm:t>
        <a:bodyPr/>
        <a:lstStyle/>
        <a:p>
          <a:pPr>
            <a:buFontTx/>
            <a:buNone/>
          </a:pPr>
          <a:r>
            <a:rPr lang="en-IN" dirty="0">
              <a:solidFill>
                <a:schemeClr val="tx2"/>
              </a:solidFill>
            </a:rPr>
            <a:t>A Persistent Volume (PV) is a storage abstraction in Kubernetes that provides persistent, cluster-wide storage for Pods. Unlike regular container storage (which is temporary), PVs retain data even if Pods restart or get deleted.</a:t>
          </a:r>
        </a:p>
      </dgm:t>
    </dgm:pt>
    <dgm:pt modelId="{7E17D2E3-16CB-4608-9022-B5C56836BEC1}" type="parTrans" cxnId="{8F253C51-49B1-47F0-B30A-53FE8835A93F}">
      <dgm:prSet/>
      <dgm:spPr/>
      <dgm:t>
        <a:bodyPr/>
        <a:lstStyle/>
        <a:p>
          <a:endParaRPr lang="en-IN"/>
        </a:p>
      </dgm:t>
    </dgm:pt>
    <dgm:pt modelId="{BE5CB55F-1BE2-4DF5-86C1-3FE51086B39F}" type="sibTrans" cxnId="{8F253C51-49B1-47F0-B30A-53FE8835A93F}">
      <dgm:prSet/>
      <dgm:spPr/>
      <dgm:t>
        <a:bodyPr/>
        <a:lstStyle/>
        <a:p>
          <a:endParaRPr lang="en-IN"/>
        </a:p>
      </dgm:t>
    </dgm:pt>
    <dgm:pt modelId="{D5C03E19-C88F-491B-9BA3-EB242D84EABD}">
      <dgm:prSet phldrT="[Text]"/>
      <dgm:spPr/>
      <dgm:t>
        <a:bodyPr/>
        <a:lstStyle/>
        <a:p>
          <a:endParaRPr lang="en-IN" dirty="0"/>
        </a:p>
      </dgm:t>
    </dgm:pt>
    <dgm:pt modelId="{A929E578-0EA6-4792-B301-FFA872EE18A8}" type="parTrans" cxnId="{CF452BB3-7CA9-46A1-9C07-807C35B6A056}">
      <dgm:prSet/>
      <dgm:spPr/>
      <dgm:t>
        <a:bodyPr/>
        <a:lstStyle/>
        <a:p>
          <a:endParaRPr lang="en-IN"/>
        </a:p>
      </dgm:t>
    </dgm:pt>
    <dgm:pt modelId="{898B8B0A-83FA-4015-A132-725384AE5EB3}" type="sibTrans" cxnId="{CF452BB3-7CA9-46A1-9C07-807C35B6A056}">
      <dgm:prSet/>
      <dgm:spPr/>
      <dgm:t>
        <a:bodyPr/>
        <a:lstStyle/>
        <a:p>
          <a:endParaRPr lang="en-IN"/>
        </a:p>
      </dgm:t>
    </dgm:pt>
    <dgm:pt modelId="{EF4D49F1-98BE-4AE7-A412-6B82FEA1F911}">
      <dgm:prSet phldrT="[Text]"/>
      <dgm:spPr/>
      <dgm:t>
        <a:bodyPr/>
        <a:lstStyle/>
        <a:p>
          <a:pPr>
            <a:buNone/>
          </a:pPr>
          <a:r>
            <a:rPr lang="en-US" dirty="0">
              <a:solidFill>
                <a:schemeClr val="tx2"/>
              </a:solidFill>
            </a:rPr>
            <a:t>A Service Account in Kubernetes is an identity used by Pods to interact with the Kubernetes API. It grants permissions to Pods for accessing resources, such as secrets, </a:t>
          </a:r>
          <a:r>
            <a:rPr lang="en-US" dirty="0" err="1">
              <a:solidFill>
                <a:schemeClr val="tx2"/>
              </a:solidFill>
            </a:rPr>
            <a:t>ConfigMaps</a:t>
          </a:r>
          <a:r>
            <a:rPr lang="en-US" dirty="0">
              <a:solidFill>
                <a:schemeClr val="tx2"/>
              </a:solidFill>
            </a:rPr>
            <a:t>, or other Kubernetes objects.</a:t>
          </a:r>
          <a:endParaRPr lang="en-IN" dirty="0">
            <a:solidFill>
              <a:schemeClr val="tx2"/>
            </a:solidFill>
          </a:endParaRPr>
        </a:p>
      </dgm:t>
    </dgm:pt>
    <dgm:pt modelId="{4DA4A2F4-2C56-418F-A23C-BC605F8C89EF}" type="parTrans" cxnId="{A123525F-DD0E-4478-B271-21744AE21550}">
      <dgm:prSet/>
      <dgm:spPr/>
      <dgm:t>
        <a:bodyPr/>
        <a:lstStyle/>
        <a:p>
          <a:endParaRPr lang="en-IN"/>
        </a:p>
      </dgm:t>
    </dgm:pt>
    <dgm:pt modelId="{EF2E0F93-6899-49B5-AA42-B7CAE8D8DA8B}" type="sibTrans" cxnId="{A123525F-DD0E-4478-B271-21744AE21550}">
      <dgm:prSet/>
      <dgm:spPr/>
      <dgm:t>
        <a:bodyPr/>
        <a:lstStyle/>
        <a:p>
          <a:endParaRPr lang="en-IN"/>
        </a:p>
      </dgm:t>
    </dgm:pt>
    <dgm:pt modelId="{5957DC42-8496-4672-83B3-9A5931104DE6}">
      <dgm:prSet phldrT="[Text]"/>
      <dgm:spPr/>
      <dgm:t>
        <a:bodyPr/>
        <a:lstStyle/>
        <a:p>
          <a:endParaRPr lang="en-IN" dirty="0"/>
        </a:p>
      </dgm:t>
    </dgm:pt>
    <dgm:pt modelId="{35DC2CF6-7D9E-4870-9264-1278FCA9A055}" type="parTrans" cxnId="{814DF80B-315B-4B95-B19A-25EEE612B74F}">
      <dgm:prSet/>
      <dgm:spPr/>
      <dgm:t>
        <a:bodyPr/>
        <a:lstStyle/>
        <a:p>
          <a:endParaRPr lang="en-IN"/>
        </a:p>
      </dgm:t>
    </dgm:pt>
    <dgm:pt modelId="{3F030BB8-A9E6-48DA-A5A9-9B1CE655E096}" type="sibTrans" cxnId="{814DF80B-315B-4B95-B19A-25EEE612B74F}">
      <dgm:prSet/>
      <dgm:spPr/>
      <dgm:t>
        <a:bodyPr/>
        <a:lstStyle/>
        <a:p>
          <a:endParaRPr lang="en-IN"/>
        </a:p>
      </dgm:t>
    </dgm:pt>
    <dgm:pt modelId="{E85A92A7-6987-4028-82D1-083A5603BECF}" type="pres">
      <dgm:prSet presAssocID="{6D91852E-383B-4896-9C23-D9C901179F69}" presName="Name0" presStyleCnt="0">
        <dgm:presLayoutVars>
          <dgm:chMax/>
          <dgm:chPref val="3"/>
          <dgm:dir/>
          <dgm:animOne val="branch"/>
          <dgm:animLvl val="lvl"/>
        </dgm:presLayoutVars>
      </dgm:prSet>
      <dgm:spPr/>
    </dgm:pt>
    <dgm:pt modelId="{7AA6612E-8DB0-45F8-91AF-B330A216EA3D}" type="pres">
      <dgm:prSet presAssocID="{BA02106F-8D3E-4F69-9F94-E3D76A797A35}" presName="composite" presStyleCnt="0"/>
      <dgm:spPr/>
    </dgm:pt>
    <dgm:pt modelId="{A9614BB7-D6C7-4435-B437-18E154CB3859}" type="pres">
      <dgm:prSet presAssocID="{BA02106F-8D3E-4F69-9F94-E3D76A797A35}" presName="FirstChild" presStyleLbl="revTx" presStyleIdx="0" presStyleCnt="8">
        <dgm:presLayoutVars>
          <dgm:chMax val="0"/>
          <dgm:chPref val="0"/>
          <dgm:bulletEnabled val="1"/>
        </dgm:presLayoutVars>
      </dgm:prSet>
      <dgm:spPr/>
    </dgm:pt>
    <dgm:pt modelId="{9C50BCFC-D54F-4BA2-9552-7F0FE6B4C80D}" type="pres">
      <dgm:prSet presAssocID="{BA02106F-8D3E-4F69-9F94-E3D76A797A35}" presName="Parent" presStyleLbl="alignNode1" presStyleIdx="0" presStyleCnt="4">
        <dgm:presLayoutVars>
          <dgm:chMax val="3"/>
          <dgm:chPref val="3"/>
          <dgm:bulletEnabled val="1"/>
        </dgm:presLayoutVars>
      </dgm:prSet>
      <dgm:spPr/>
    </dgm:pt>
    <dgm:pt modelId="{A3B3F0F8-69D5-4CC8-8914-9F227F7B5115}" type="pres">
      <dgm:prSet presAssocID="{BA02106F-8D3E-4F69-9F94-E3D76A797A35}" presName="Accent" presStyleLbl="parChTrans1D1" presStyleIdx="0" presStyleCnt="4"/>
      <dgm:spPr/>
    </dgm:pt>
    <dgm:pt modelId="{8102EF08-2D89-410F-9777-5630572C5832}" type="pres">
      <dgm:prSet presAssocID="{BA02106F-8D3E-4F69-9F94-E3D76A797A35}" presName="Child" presStyleLbl="revTx" presStyleIdx="1" presStyleCnt="8">
        <dgm:presLayoutVars>
          <dgm:chMax val="0"/>
          <dgm:chPref val="0"/>
          <dgm:bulletEnabled val="1"/>
        </dgm:presLayoutVars>
      </dgm:prSet>
      <dgm:spPr/>
    </dgm:pt>
    <dgm:pt modelId="{05C05591-627F-44F5-97B4-1E1631597354}" type="pres">
      <dgm:prSet presAssocID="{D1E5EB83-8BC7-4DE8-9017-3E3BC6E6D471}" presName="sibTrans" presStyleCnt="0"/>
      <dgm:spPr/>
    </dgm:pt>
    <dgm:pt modelId="{27C8A4E5-6CB7-453A-BBB6-CF70ED79ECE9}" type="pres">
      <dgm:prSet presAssocID="{1EEF9715-AA49-4084-8EE5-A909BF2FC24C}" presName="composite" presStyleCnt="0"/>
      <dgm:spPr/>
    </dgm:pt>
    <dgm:pt modelId="{CF61EFEB-DCC9-4211-BF27-6C17205E86C1}" type="pres">
      <dgm:prSet presAssocID="{1EEF9715-AA49-4084-8EE5-A909BF2FC24C}" presName="FirstChild" presStyleLbl="revTx" presStyleIdx="2" presStyleCnt="8">
        <dgm:presLayoutVars>
          <dgm:chMax val="0"/>
          <dgm:chPref val="0"/>
          <dgm:bulletEnabled val="1"/>
        </dgm:presLayoutVars>
      </dgm:prSet>
      <dgm:spPr/>
    </dgm:pt>
    <dgm:pt modelId="{476383A8-643B-42C9-8981-564251140A05}" type="pres">
      <dgm:prSet presAssocID="{1EEF9715-AA49-4084-8EE5-A909BF2FC24C}" presName="Parent" presStyleLbl="alignNode1" presStyleIdx="1" presStyleCnt="4">
        <dgm:presLayoutVars>
          <dgm:chMax val="3"/>
          <dgm:chPref val="3"/>
          <dgm:bulletEnabled val="1"/>
        </dgm:presLayoutVars>
      </dgm:prSet>
      <dgm:spPr/>
    </dgm:pt>
    <dgm:pt modelId="{BDAD71F0-8990-4EC4-99B6-D916E386FD63}" type="pres">
      <dgm:prSet presAssocID="{1EEF9715-AA49-4084-8EE5-A909BF2FC24C}" presName="Accent" presStyleLbl="parChTrans1D1" presStyleIdx="1" presStyleCnt="4"/>
      <dgm:spPr/>
    </dgm:pt>
    <dgm:pt modelId="{7195114F-D131-4C84-8B92-B164332B3FAA}" type="pres">
      <dgm:prSet presAssocID="{1EEF9715-AA49-4084-8EE5-A909BF2FC24C}" presName="Child" presStyleLbl="revTx" presStyleIdx="3" presStyleCnt="8">
        <dgm:presLayoutVars>
          <dgm:chMax val="0"/>
          <dgm:chPref val="0"/>
          <dgm:bulletEnabled val="1"/>
        </dgm:presLayoutVars>
      </dgm:prSet>
      <dgm:spPr/>
    </dgm:pt>
    <dgm:pt modelId="{D61D1507-80E6-4F62-87D3-1A05466D14D7}" type="pres">
      <dgm:prSet presAssocID="{35997440-BED9-40B0-8B34-B7E7B551A4E7}" presName="sibTrans" presStyleCnt="0"/>
      <dgm:spPr/>
    </dgm:pt>
    <dgm:pt modelId="{14CA3899-5EAB-4C50-9C58-80B7CB34F2C0}" type="pres">
      <dgm:prSet presAssocID="{5CD346A4-DCBF-4EA1-B2B9-C8DEEB7729EE}" presName="composite" presStyleCnt="0"/>
      <dgm:spPr/>
    </dgm:pt>
    <dgm:pt modelId="{4DE09FB2-9492-4AE6-836C-CC8EB459781A}" type="pres">
      <dgm:prSet presAssocID="{5CD346A4-DCBF-4EA1-B2B9-C8DEEB7729EE}" presName="FirstChild" presStyleLbl="revTx" presStyleIdx="4" presStyleCnt="8">
        <dgm:presLayoutVars>
          <dgm:chMax val="0"/>
          <dgm:chPref val="0"/>
          <dgm:bulletEnabled val="1"/>
        </dgm:presLayoutVars>
      </dgm:prSet>
      <dgm:spPr/>
    </dgm:pt>
    <dgm:pt modelId="{F1107D10-0233-48CF-91E7-E922D72F80A5}" type="pres">
      <dgm:prSet presAssocID="{5CD346A4-DCBF-4EA1-B2B9-C8DEEB7729EE}" presName="Parent" presStyleLbl="alignNode1" presStyleIdx="2" presStyleCnt="4">
        <dgm:presLayoutVars>
          <dgm:chMax val="3"/>
          <dgm:chPref val="3"/>
          <dgm:bulletEnabled val="1"/>
        </dgm:presLayoutVars>
      </dgm:prSet>
      <dgm:spPr/>
    </dgm:pt>
    <dgm:pt modelId="{F3484DF9-1364-477E-8299-9A5397453C46}" type="pres">
      <dgm:prSet presAssocID="{5CD346A4-DCBF-4EA1-B2B9-C8DEEB7729EE}" presName="Accent" presStyleLbl="parChTrans1D1" presStyleIdx="2" presStyleCnt="4"/>
      <dgm:spPr/>
    </dgm:pt>
    <dgm:pt modelId="{ED2BE4A4-5982-459E-ADB7-A9908D561E72}" type="pres">
      <dgm:prSet presAssocID="{5CD346A4-DCBF-4EA1-B2B9-C8DEEB7729EE}" presName="Child" presStyleLbl="revTx" presStyleIdx="5" presStyleCnt="8">
        <dgm:presLayoutVars>
          <dgm:chMax val="0"/>
          <dgm:chPref val="0"/>
          <dgm:bulletEnabled val="1"/>
        </dgm:presLayoutVars>
      </dgm:prSet>
      <dgm:spPr/>
    </dgm:pt>
    <dgm:pt modelId="{9EEE3CD6-4184-4583-8062-D6CB3A4CC6F0}" type="pres">
      <dgm:prSet presAssocID="{CAEBB828-684E-4E9E-98FB-9835E5DA6940}" presName="sibTrans" presStyleCnt="0"/>
      <dgm:spPr/>
    </dgm:pt>
    <dgm:pt modelId="{7772F4B3-AF22-47D7-85D7-B19A5CC9F086}" type="pres">
      <dgm:prSet presAssocID="{4DFEAC23-1A6C-46DB-BA0E-40B746C55F43}" presName="composite" presStyleCnt="0"/>
      <dgm:spPr/>
    </dgm:pt>
    <dgm:pt modelId="{D82ACAAE-9A09-428F-A11E-3F3EEFAEC9D5}" type="pres">
      <dgm:prSet presAssocID="{4DFEAC23-1A6C-46DB-BA0E-40B746C55F43}" presName="FirstChild" presStyleLbl="revTx" presStyleIdx="6" presStyleCnt="8">
        <dgm:presLayoutVars>
          <dgm:chMax val="0"/>
          <dgm:chPref val="0"/>
          <dgm:bulletEnabled val="1"/>
        </dgm:presLayoutVars>
      </dgm:prSet>
      <dgm:spPr/>
    </dgm:pt>
    <dgm:pt modelId="{476E3AE9-6DA8-46AF-9B7A-8D54AE19B71D}" type="pres">
      <dgm:prSet presAssocID="{4DFEAC23-1A6C-46DB-BA0E-40B746C55F43}" presName="Parent" presStyleLbl="alignNode1" presStyleIdx="3" presStyleCnt="4">
        <dgm:presLayoutVars>
          <dgm:chMax val="3"/>
          <dgm:chPref val="3"/>
          <dgm:bulletEnabled val="1"/>
        </dgm:presLayoutVars>
      </dgm:prSet>
      <dgm:spPr/>
    </dgm:pt>
    <dgm:pt modelId="{5E98A2D8-ACF1-44EE-9E0F-9C45D73565D6}" type="pres">
      <dgm:prSet presAssocID="{4DFEAC23-1A6C-46DB-BA0E-40B746C55F43}" presName="Accent" presStyleLbl="parChTrans1D1" presStyleIdx="3" presStyleCnt="4"/>
      <dgm:spPr/>
    </dgm:pt>
    <dgm:pt modelId="{7766C3E4-7CD4-4871-99F1-58E33122CBB5}" type="pres">
      <dgm:prSet presAssocID="{4DFEAC23-1A6C-46DB-BA0E-40B746C55F43}" presName="Child" presStyleLbl="revTx" presStyleIdx="7" presStyleCnt="8">
        <dgm:presLayoutVars>
          <dgm:chMax val="0"/>
          <dgm:chPref val="0"/>
          <dgm:bulletEnabled val="1"/>
        </dgm:presLayoutVars>
      </dgm:prSet>
      <dgm:spPr/>
    </dgm:pt>
  </dgm:ptLst>
  <dgm:cxnLst>
    <dgm:cxn modelId="{9A1E0907-905D-4D37-8ED0-F7648D3DF675}" srcId="{5CD346A4-DCBF-4EA1-B2B9-C8DEEB7729EE}" destId="{A8F1A0D6-C92A-4B82-9C4F-D045218FE45B}" srcOrd="1" destOrd="0" parTransId="{34E7437B-92F8-4511-9E65-EBCD740550AF}" sibTransId="{4F5C9EFF-450E-475A-9B5D-4B1E59B171B8}"/>
    <dgm:cxn modelId="{814DF80B-315B-4B95-B19A-25EEE612B74F}" srcId="{4DFEAC23-1A6C-46DB-BA0E-40B746C55F43}" destId="{5957DC42-8496-4672-83B3-9A5931104DE6}" srcOrd="0" destOrd="0" parTransId="{35DC2CF6-7D9E-4870-9264-1278FCA9A055}" sibTransId="{3F030BB8-A9E6-48DA-A5A9-9B1CE655E096}"/>
    <dgm:cxn modelId="{4DC2AD17-370F-41F8-A13B-572452FD5A7D}" srcId="{6D91852E-383B-4896-9C23-D9C901179F69}" destId="{5CD346A4-DCBF-4EA1-B2B9-C8DEEB7729EE}" srcOrd="2" destOrd="0" parTransId="{35FB2DAE-4FA0-4316-8942-223A841982B0}" sibTransId="{CAEBB828-684E-4E9E-98FB-9835E5DA6940}"/>
    <dgm:cxn modelId="{500C9529-3147-4D5D-9558-7FAC68DCBCAA}" srcId="{6D91852E-383B-4896-9C23-D9C901179F69}" destId="{BA02106F-8D3E-4F69-9F94-E3D76A797A35}" srcOrd="0" destOrd="0" parTransId="{26B54867-FBEC-4DDD-A1BF-7AB10B0415C2}" sibTransId="{D1E5EB83-8BC7-4DE8-9017-3E3BC6E6D471}"/>
    <dgm:cxn modelId="{4CCA8F2B-7DF0-46D5-A451-1F7CC6E24073}" srcId="{1EEF9715-AA49-4084-8EE5-A909BF2FC24C}" destId="{0937EB2D-ECB9-4369-AC3A-F6F1DBA57EBA}" srcOrd="0" destOrd="0" parTransId="{8D02F50E-2601-4425-8306-854FA2CFAFA0}" sibTransId="{0B813464-D0A4-4C80-8F17-F434B2E607F5}"/>
    <dgm:cxn modelId="{59565F2C-17AA-4B9C-B65D-33E4F958F2FB}" type="presOf" srcId="{BA02106F-8D3E-4F69-9F94-E3D76A797A35}" destId="{9C50BCFC-D54F-4BA2-9552-7F0FE6B4C80D}" srcOrd="0" destOrd="0" presId="urn:microsoft.com/office/officeart/2011/layout/TabList"/>
    <dgm:cxn modelId="{499D3436-D328-4594-8457-3FD379071134}" type="presOf" srcId="{EF4D49F1-98BE-4AE7-A412-6B82FEA1F911}" destId="{7766C3E4-7CD4-4871-99F1-58E33122CBB5}" srcOrd="0" destOrd="0" presId="urn:microsoft.com/office/officeart/2011/layout/TabList"/>
    <dgm:cxn modelId="{4088845E-285D-4468-BB5F-E048FE4B1D2B}" srcId="{6D91852E-383B-4896-9C23-D9C901179F69}" destId="{1EEF9715-AA49-4084-8EE5-A909BF2FC24C}" srcOrd="1" destOrd="0" parTransId="{555DCDA7-1F87-422E-87B5-9BEE8BB6BCFE}" sibTransId="{35997440-BED9-40B0-8B34-B7E7B551A4E7}"/>
    <dgm:cxn modelId="{A123525F-DD0E-4478-B271-21744AE21550}" srcId="{4DFEAC23-1A6C-46DB-BA0E-40B746C55F43}" destId="{EF4D49F1-98BE-4AE7-A412-6B82FEA1F911}" srcOrd="1" destOrd="0" parTransId="{4DA4A2F4-2C56-418F-A23C-BC605F8C89EF}" sibTransId="{EF2E0F93-6899-49B5-AA42-B7CAE8D8DA8B}"/>
    <dgm:cxn modelId="{4B90554C-0629-4AE1-AAE9-7D4C8DD6AA16}" type="presOf" srcId="{0937EB2D-ECB9-4369-AC3A-F6F1DBA57EBA}" destId="{CF61EFEB-DCC9-4211-BF27-6C17205E86C1}" srcOrd="0" destOrd="0" presId="urn:microsoft.com/office/officeart/2011/layout/TabList"/>
    <dgm:cxn modelId="{8F253C51-49B1-47F0-B30A-53FE8835A93F}" srcId="{BA02106F-8D3E-4F69-9F94-E3D76A797A35}" destId="{AF242455-2542-4E63-AB4E-75B55039152A}" srcOrd="1" destOrd="0" parTransId="{7E17D2E3-16CB-4608-9022-B5C56836BEC1}" sibTransId="{BE5CB55F-1BE2-4DF5-86C1-3FE51086B39F}"/>
    <dgm:cxn modelId="{C830D054-2D30-40FC-A977-5D52EB4B2095}" type="presOf" srcId="{6D91852E-383B-4896-9C23-D9C901179F69}" destId="{E85A92A7-6987-4028-82D1-083A5603BECF}" srcOrd="0" destOrd="0" presId="urn:microsoft.com/office/officeart/2011/layout/TabList"/>
    <dgm:cxn modelId="{6F308482-6B20-4158-B8F9-3C709F59571F}" type="presOf" srcId="{A8F1A0D6-C92A-4B82-9C4F-D045218FE45B}" destId="{ED2BE4A4-5982-459E-ADB7-A9908D561E72}" srcOrd="0" destOrd="0" presId="urn:microsoft.com/office/officeart/2011/layout/TabList"/>
    <dgm:cxn modelId="{B4DED69C-527D-4DFB-80BA-E96896AA59DE}" type="presOf" srcId="{AF242455-2542-4E63-AB4E-75B55039152A}" destId="{8102EF08-2D89-410F-9777-5630572C5832}" srcOrd="0" destOrd="0" presId="urn:microsoft.com/office/officeart/2011/layout/TabList"/>
    <dgm:cxn modelId="{9E849DA1-13F6-416B-89A3-4C4EB1F706EA}" type="presOf" srcId="{73373CBA-AB8C-474F-8275-8BFBBA32DCDA}" destId="{7195114F-D131-4C84-8B92-B164332B3FAA}" srcOrd="0" destOrd="0" presId="urn:microsoft.com/office/officeart/2011/layout/TabList"/>
    <dgm:cxn modelId="{6AB091A5-F8E5-4A57-9132-33D76566A19B}" srcId="{5CD346A4-DCBF-4EA1-B2B9-C8DEEB7729EE}" destId="{F83395FF-14CC-4B55-8BEA-6961D58620BB}" srcOrd="0" destOrd="0" parTransId="{94DD9EA6-C2F1-4DBF-8705-5BBD0852C7C4}" sibTransId="{46026156-C8F3-4A82-BAC6-F51B96AD38F3}"/>
    <dgm:cxn modelId="{8198F9A9-D45E-46F1-8150-196FBE93B972}" type="presOf" srcId="{5957DC42-8496-4672-83B3-9A5931104DE6}" destId="{D82ACAAE-9A09-428F-A11E-3F3EEFAEC9D5}" srcOrd="0" destOrd="0" presId="urn:microsoft.com/office/officeart/2011/layout/TabList"/>
    <dgm:cxn modelId="{CF452BB3-7CA9-46A1-9C07-807C35B6A056}" srcId="{BA02106F-8D3E-4F69-9F94-E3D76A797A35}" destId="{D5C03E19-C88F-491B-9BA3-EB242D84EABD}" srcOrd="0" destOrd="0" parTransId="{A929E578-0EA6-4792-B301-FFA872EE18A8}" sibTransId="{898B8B0A-83FA-4015-A132-725384AE5EB3}"/>
    <dgm:cxn modelId="{4B78C8B3-AA8F-4050-9C9D-526097FAB113}" srcId="{1EEF9715-AA49-4084-8EE5-A909BF2FC24C}" destId="{73373CBA-AB8C-474F-8275-8BFBBA32DCDA}" srcOrd="1" destOrd="0" parTransId="{8999A739-0370-452A-A800-B686E8B3C712}" sibTransId="{499F577B-E4F2-4E67-A1B6-5D1F13B755C0}"/>
    <dgm:cxn modelId="{3CABDFB3-BCAB-4BFD-A023-2D507738578D}" type="presOf" srcId="{1EEF9715-AA49-4084-8EE5-A909BF2FC24C}" destId="{476383A8-643B-42C9-8981-564251140A05}" srcOrd="0" destOrd="0" presId="urn:microsoft.com/office/officeart/2011/layout/TabList"/>
    <dgm:cxn modelId="{903D4BC9-8138-46F2-9985-CC15D647587B}" type="presOf" srcId="{4DFEAC23-1A6C-46DB-BA0E-40B746C55F43}" destId="{476E3AE9-6DA8-46AF-9B7A-8D54AE19B71D}" srcOrd="0" destOrd="0" presId="urn:microsoft.com/office/officeart/2011/layout/TabList"/>
    <dgm:cxn modelId="{DB9F02DF-42F9-4CD4-B15B-6C59DE36516D}" type="presOf" srcId="{D5C03E19-C88F-491B-9BA3-EB242D84EABD}" destId="{A9614BB7-D6C7-4435-B437-18E154CB3859}" srcOrd="0" destOrd="0" presId="urn:microsoft.com/office/officeart/2011/layout/TabList"/>
    <dgm:cxn modelId="{3D61F2E3-5EB3-451A-83C9-F0C7C5BFD880}" type="presOf" srcId="{5CD346A4-DCBF-4EA1-B2B9-C8DEEB7729EE}" destId="{F1107D10-0233-48CF-91E7-E922D72F80A5}" srcOrd="0" destOrd="0" presId="urn:microsoft.com/office/officeart/2011/layout/TabList"/>
    <dgm:cxn modelId="{953516ED-8205-49C7-BBF3-38E509849AD0}" srcId="{6D91852E-383B-4896-9C23-D9C901179F69}" destId="{4DFEAC23-1A6C-46DB-BA0E-40B746C55F43}" srcOrd="3" destOrd="0" parTransId="{C0179E8A-A514-470D-895E-84A599546B0D}" sibTransId="{A6EB2253-010C-4D36-8414-9B6C713BB2FD}"/>
    <dgm:cxn modelId="{667C41F5-82BD-47FC-B898-34F2D5DE8340}" type="presOf" srcId="{F83395FF-14CC-4B55-8BEA-6961D58620BB}" destId="{4DE09FB2-9492-4AE6-836C-CC8EB459781A}" srcOrd="0" destOrd="0" presId="urn:microsoft.com/office/officeart/2011/layout/TabList"/>
    <dgm:cxn modelId="{CBF0D23C-73BD-4C7D-9B8F-B91F423ECDE9}" type="presParOf" srcId="{E85A92A7-6987-4028-82D1-083A5603BECF}" destId="{7AA6612E-8DB0-45F8-91AF-B330A216EA3D}" srcOrd="0" destOrd="0" presId="urn:microsoft.com/office/officeart/2011/layout/TabList"/>
    <dgm:cxn modelId="{B0F14D7F-E606-418E-85E8-7B25F87F45DC}" type="presParOf" srcId="{7AA6612E-8DB0-45F8-91AF-B330A216EA3D}" destId="{A9614BB7-D6C7-4435-B437-18E154CB3859}" srcOrd="0" destOrd="0" presId="urn:microsoft.com/office/officeart/2011/layout/TabList"/>
    <dgm:cxn modelId="{F9F6A600-5C72-4A33-B444-DC2F953B70A7}" type="presParOf" srcId="{7AA6612E-8DB0-45F8-91AF-B330A216EA3D}" destId="{9C50BCFC-D54F-4BA2-9552-7F0FE6B4C80D}" srcOrd="1" destOrd="0" presId="urn:microsoft.com/office/officeart/2011/layout/TabList"/>
    <dgm:cxn modelId="{8B0D3E91-9528-4F7E-937E-19B78ABF8BC3}" type="presParOf" srcId="{7AA6612E-8DB0-45F8-91AF-B330A216EA3D}" destId="{A3B3F0F8-69D5-4CC8-8914-9F227F7B5115}" srcOrd="2" destOrd="0" presId="urn:microsoft.com/office/officeart/2011/layout/TabList"/>
    <dgm:cxn modelId="{D2EFCA58-9D66-4F22-8D14-2007E8403043}" type="presParOf" srcId="{E85A92A7-6987-4028-82D1-083A5603BECF}" destId="{8102EF08-2D89-410F-9777-5630572C5832}" srcOrd="1" destOrd="0" presId="urn:microsoft.com/office/officeart/2011/layout/TabList"/>
    <dgm:cxn modelId="{76604902-B8A2-48EE-9D15-77637F80AAE3}" type="presParOf" srcId="{E85A92A7-6987-4028-82D1-083A5603BECF}" destId="{05C05591-627F-44F5-97B4-1E1631597354}" srcOrd="2" destOrd="0" presId="urn:microsoft.com/office/officeart/2011/layout/TabList"/>
    <dgm:cxn modelId="{1CEBA85B-20D3-4876-9405-33C89323B7B4}" type="presParOf" srcId="{E85A92A7-6987-4028-82D1-083A5603BECF}" destId="{27C8A4E5-6CB7-453A-BBB6-CF70ED79ECE9}" srcOrd="3" destOrd="0" presId="urn:microsoft.com/office/officeart/2011/layout/TabList"/>
    <dgm:cxn modelId="{56792D5A-A59A-4291-B799-75FAC3E5F009}" type="presParOf" srcId="{27C8A4E5-6CB7-453A-BBB6-CF70ED79ECE9}" destId="{CF61EFEB-DCC9-4211-BF27-6C17205E86C1}" srcOrd="0" destOrd="0" presId="urn:microsoft.com/office/officeart/2011/layout/TabList"/>
    <dgm:cxn modelId="{E59E1F34-04E0-4267-AC8C-2A6D1FE8AF97}" type="presParOf" srcId="{27C8A4E5-6CB7-453A-BBB6-CF70ED79ECE9}" destId="{476383A8-643B-42C9-8981-564251140A05}" srcOrd="1" destOrd="0" presId="urn:microsoft.com/office/officeart/2011/layout/TabList"/>
    <dgm:cxn modelId="{E8E3E456-DFA4-4062-A78E-C5307FEAF4CE}" type="presParOf" srcId="{27C8A4E5-6CB7-453A-BBB6-CF70ED79ECE9}" destId="{BDAD71F0-8990-4EC4-99B6-D916E386FD63}" srcOrd="2" destOrd="0" presId="urn:microsoft.com/office/officeart/2011/layout/TabList"/>
    <dgm:cxn modelId="{2C59AF1F-337B-4424-B201-9EFD755ED0E3}" type="presParOf" srcId="{E85A92A7-6987-4028-82D1-083A5603BECF}" destId="{7195114F-D131-4C84-8B92-B164332B3FAA}" srcOrd="4" destOrd="0" presId="urn:microsoft.com/office/officeart/2011/layout/TabList"/>
    <dgm:cxn modelId="{CBB08771-CD90-4B4B-A5D6-0B98463600B4}" type="presParOf" srcId="{E85A92A7-6987-4028-82D1-083A5603BECF}" destId="{D61D1507-80E6-4F62-87D3-1A05466D14D7}" srcOrd="5" destOrd="0" presId="urn:microsoft.com/office/officeart/2011/layout/TabList"/>
    <dgm:cxn modelId="{4730E4A7-4C08-4BF9-90C1-9F7C463C4C52}" type="presParOf" srcId="{E85A92A7-6987-4028-82D1-083A5603BECF}" destId="{14CA3899-5EAB-4C50-9C58-80B7CB34F2C0}" srcOrd="6" destOrd="0" presId="urn:microsoft.com/office/officeart/2011/layout/TabList"/>
    <dgm:cxn modelId="{06210850-569F-4BDE-9D0F-8F329DC005A8}" type="presParOf" srcId="{14CA3899-5EAB-4C50-9C58-80B7CB34F2C0}" destId="{4DE09FB2-9492-4AE6-836C-CC8EB459781A}" srcOrd="0" destOrd="0" presId="urn:microsoft.com/office/officeart/2011/layout/TabList"/>
    <dgm:cxn modelId="{D38D0B47-53C0-42F8-9B53-154807C9CD72}" type="presParOf" srcId="{14CA3899-5EAB-4C50-9C58-80B7CB34F2C0}" destId="{F1107D10-0233-48CF-91E7-E922D72F80A5}" srcOrd="1" destOrd="0" presId="urn:microsoft.com/office/officeart/2011/layout/TabList"/>
    <dgm:cxn modelId="{DAF30B57-04FF-4DAD-B146-E721BCADF7B4}" type="presParOf" srcId="{14CA3899-5EAB-4C50-9C58-80B7CB34F2C0}" destId="{F3484DF9-1364-477E-8299-9A5397453C46}" srcOrd="2" destOrd="0" presId="urn:microsoft.com/office/officeart/2011/layout/TabList"/>
    <dgm:cxn modelId="{F1B1F8AE-6059-42DA-8C31-F94AC688C2E8}" type="presParOf" srcId="{E85A92A7-6987-4028-82D1-083A5603BECF}" destId="{ED2BE4A4-5982-459E-ADB7-A9908D561E72}" srcOrd="7" destOrd="0" presId="urn:microsoft.com/office/officeart/2011/layout/TabList"/>
    <dgm:cxn modelId="{DA2FEB45-3A54-427E-B8D8-B320DA2521EE}" type="presParOf" srcId="{E85A92A7-6987-4028-82D1-083A5603BECF}" destId="{9EEE3CD6-4184-4583-8062-D6CB3A4CC6F0}" srcOrd="8" destOrd="0" presId="urn:microsoft.com/office/officeart/2011/layout/TabList"/>
    <dgm:cxn modelId="{2B7FF930-D58D-462B-B1AA-FF343379112C}" type="presParOf" srcId="{E85A92A7-6987-4028-82D1-083A5603BECF}" destId="{7772F4B3-AF22-47D7-85D7-B19A5CC9F086}" srcOrd="9" destOrd="0" presId="urn:microsoft.com/office/officeart/2011/layout/TabList"/>
    <dgm:cxn modelId="{6E7D1437-A508-44C2-A76D-0331543B2446}" type="presParOf" srcId="{7772F4B3-AF22-47D7-85D7-B19A5CC9F086}" destId="{D82ACAAE-9A09-428F-A11E-3F3EEFAEC9D5}" srcOrd="0" destOrd="0" presId="urn:microsoft.com/office/officeart/2011/layout/TabList"/>
    <dgm:cxn modelId="{F4076499-F29F-4FC5-BBBA-68A054DFB80F}" type="presParOf" srcId="{7772F4B3-AF22-47D7-85D7-B19A5CC9F086}" destId="{476E3AE9-6DA8-46AF-9B7A-8D54AE19B71D}" srcOrd="1" destOrd="0" presId="urn:microsoft.com/office/officeart/2011/layout/TabList"/>
    <dgm:cxn modelId="{0D15D0A3-B4E4-4127-8CC0-9544100D18BD}" type="presParOf" srcId="{7772F4B3-AF22-47D7-85D7-B19A5CC9F086}" destId="{5E98A2D8-ACF1-44EE-9E0F-9C45D73565D6}" srcOrd="2" destOrd="0" presId="urn:microsoft.com/office/officeart/2011/layout/TabList"/>
    <dgm:cxn modelId="{156F2676-EE04-4269-8F6A-CCD320CA88B4}" type="presParOf" srcId="{E85A92A7-6987-4028-82D1-083A5603BECF}" destId="{7766C3E4-7CD4-4871-99F1-58E33122CBB5}" srcOrd="10" destOrd="0" presId="urn:microsoft.com/office/officeart/2011/layout/Tab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78019F-E72C-4D1C-B9F6-BA6E0163F488}">
      <dsp:nvSpPr>
        <dsp:cNvPr id="0" name=""/>
        <dsp:cNvSpPr/>
      </dsp:nvSpPr>
      <dsp:spPr>
        <a:xfrm rot="5400000">
          <a:off x="432199" y="518773"/>
          <a:ext cx="446547" cy="508378"/>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93C30B-1EBD-4F54-8460-2E4293D035E6}">
      <dsp:nvSpPr>
        <dsp:cNvPr id="0" name=""/>
        <dsp:cNvSpPr/>
      </dsp:nvSpPr>
      <dsp:spPr>
        <a:xfrm>
          <a:off x="313891" y="23766"/>
          <a:ext cx="751723" cy="526182"/>
        </a:xfrm>
        <a:prstGeom prst="roundRect">
          <a:avLst>
            <a:gd name="adj" fmla="val 16670"/>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nalyze</a:t>
          </a:r>
          <a:endParaRPr lang="en-IN" sz="1300" kern="1200" dirty="0"/>
        </a:p>
      </dsp:txBody>
      <dsp:txXfrm>
        <a:off x="339582" y="49457"/>
        <a:ext cx="700341" cy="474800"/>
      </dsp:txXfrm>
    </dsp:sp>
    <dsp:sp modelId="{B3AF3953-D656-47D9-8097-F46D80626CCF}">
      <dsp:nvSpPr>
        <dsp:cNvPr id="0" name=""/>
        <dsp:cNvSpPr/>
      </dsp:nvSpPr>
      <dsp:spPr>
        <a:xfrm>
          <a:off x="1065615" y="73949"/>
          <a:ext cx="546732" cy="425283"/>
        </a:xfrm>
        <a:prstGeom prst="rect">
          <a:avLst/>
        </a:prstGeom>
        <a:noFill/>
        <a:ln>
          <a:noFill/>
        </a:ln>
        <a:effectLst/>
      </dsp:spPr>
      <dsp:style>
        <a:lnRef idx="0">
          <a:scrgbClr r="0" g="0" b="0"/>
        </a:lnRef>
        <a:fillRef idx="0">
          <a:scrgbClr r="0" g="0" b="0"/>
        </a:fillRef>
        <a:effectRef idx="0">
          <a:scrgbClr r="0" g="0" b="0"/>
        </a:effectRef>
        <a:fontRef idx="minor"/>
      </dsp:style>
    </dsp:sp>
    <dsp:sp modelId="{5233D505-DFC9-4D9F-B2C4-F33B0EF74CEA}">
      <dsp:nvSpPr>
        <dsp:cNvPr id="0" name=""/>
        <dsp:cNvSpPr/>
      </dsp:nvSpPr>
      <dsp:spPr>
        <a:xfrm rot="5400000">
          <a:off x="1055458" y="1109849"/>
          <a:ext cx="446547" cy="508378"/>
        </a:xfrm>
        <a:prstGeom prst="bentUpArrow">
          <a:avLst>
            <a:gd name="adj1" fmla="val 32840"/>
            <a:gd name="adj2" fmla="val 25000"/>
            <a:gd name="adj3" fmla="val 35780"/>
          </a:avLst>
        </a:prstGeom>
        <a:solidFill>
          <a:schemeClr val="accent1">
            <a:tint val="50000"/>
            <a:hueOff val="13603"/>
            <a:satOff val="0"/>
            <a:lumOff val="21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E0C55F3-3608-4512-B9DF-D404EA9BFE9C}">
      <dsp:nvSpPr>
        <dsp:cNvPr id="0" name=""/>
        <dsp:cNvSpPr/>
      </dsp:nvSpPr>
      <dsp:spPr>
        <a:xfrm>
          <a:off x="937150" y="614842"/>
          <a:ext cx="751723" cy="526182"/>
        </a:xfrm>
        <a:prstGeom prst="roundRect">
          <a:avLst>
            <a:gd name="adj" fmla="val 16670"/>
          </a:avLst>
        </a:prstGeom>
        <a:solidFill>
          <a:schemeClr val="accent1">
            <a:alpha val="90000"/>
            <a:hueOff val="0"/>
            <a:satOff val="0"/>
            <a:lumOff val="0"/>
            <a:alphaOff val="-8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Plan</a:t>
          </a:r>
          <a:endParaRPr lang="en-IN" sz="1300" kern="1200" dirty="0"/>
        </a:p>
      </dsp:txBody>
      <dsp:txXfrm>
        <a:off x="962841" y="640533"/>
        <a:ext cx="700341" cy="474800"/>
      </dsp:txXfrm>
    </dsp:sp>
    <dsp:sp modelId="{77EEE251-C717-4C0E-93CA-F573EA57AE8A}">
      <dsp:nvSpPr>
        <dsp:cNvPr id="0" name=""/>
        <dsp:cNvSpPr/>
      </dsp:nvSpPr>
      <dsp:spPr>
        <a:xfrm>
          <a:off x="1688873" y="665025"/>
          <a:ext cx="546732" cy="425283"/>
        </a:xfrm>
        <a:prstGeom prst="rect">
          <a:avLst/>
        </a:prstGeom>
        <a:noFill/>
        <a:ln>
          <a:noFill/>
        </a:ln>
        <a:effectLst/>
      </dsp:spPr>
      <dsp:style>
        <a:lnRef idx="0">
          <a:scrgbClr r="0" g="0" b="0"/>
        </a:lnRef>
        <a:fillRef idx="0">
          <a:scrgbClr r="0" g="0" b="0"/>
        </a:fillRef>
        <a:effectRef idx="0">
          <a:scrgbClr r="0" g="0" b="0"/>
        </a:effectRef>
        <a:fontRef idx="minor"/>
      </dsp:style>
    </dsp:sp>
    <dsp:sp modelId="{A70C49AA-C3FE-4D16-9155-BE20A3BF846E}">
      <dsp:nvSpPr>
        <dsp:cNvPr id="0" name=""/>
        <dsp:cNvSpPr/>
      </dsp:nvSpPr>
      <dsp:spPr>
        <a:xfrm rot="5400000">
          <a:off x="1678716" y="1700925"/>
          <a:ext cx="446547" cy="508378"/>
        </a:xfrm>
        <a:prstGeom prst="bentUpArrow">
          <a:avLst>
            <a:gd name="adj1" fmla="val 32840"/>
            <a:gd name="adj2" fmla="val 25000"/>
            <a:gd name="adj3" fmla="val 35780"/>
          </a:avLst>
        </a:prstGeom>
        <a:solidFill>
          <a:schemeClr val="accent1">
            <a:tint val="50000"/>
            <a:hueOff val="27206"/>
            <a:satOff val="0"/>
            <a:lumOff val="427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31BD45-936A-4A35-BD72-D9F6E42A5294}">
      <dsp:nvSpPr>
        <dsp:cNvPr id="0" name=""/>
        <dsp:cNvSpPr/>
      </dsp:nvSpPr>
      <dsp:spPr>
        <a:xfrm>
          <a:off x="1560408" y="1205918"/>
          <a:ext cx="751723" cy="526182"/>
        </a:xfrm>
        <a:prstGeom prst="roundRect">
          <a:avLst>
            <a:gd name="adj" fmla="val 16670"/>
          </a:avLst>
        </a:prstGeom>
        <a:solidFill>
          <a:schemeClr val="accent1">
            <a:alpha val="90000"/>
            <a:hueOff val="0"/>
            <a:satOff val="0"/>
            <a:lumOff val="0"/>
            <a:alphaOff val="-16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IN" sz="1300" kern="1200" dirty="0"/>
            <a:t>Design</a:t>
          </a:r>
        </a:p>
      </dsp:txBody>
      <dsp:txXfrm>
        <a:off x="1586099" y="1231609"/>
        <a:ext cx="700341" cy="474800"/>
      </dsp:txXfrm>
    </dsp:sp>
    <dsp:sp modelId="{60FC0D0E-B86F-411E-9EE7-DA8F4CB16E2A}">
      <dsp:nvSpPr>
        <dsp:cNvPr id="0" name=""/>
        <dsp:cNvSpPr/>
      </dsp:nvSpPr>
      <dsp:spPr>
        <a:xfrm>
          <a:off x="2312132" y="1256101"/>
          <a:ext cx="546732" cy="425283"/>
        </a:xfrm>
        <a:prstGeom prst="rect">
          <a:avLst/>
        </a:prstGeom>
        <a:noFill/>
        <a:ln>
          <a:noFill/>
        </a:ln>
        <a:effectLst/>
      </dsp:spPr>
      <dsp:style>
        <a:lnRef idx="0">
          <a:scrgbClr r="0" g="0" b="0"/>
        </a:lnRef>
        <a:fillRef idx="0">
          <a:scrgbClr r="0" g="0" b="0"/>
        </a:fillRef>
        <a:effectRef idx="0">
          <a:scrgbClr r="0" g="0" b="0"/>
        </a:effectRef>
        <a:fontRef idx="minor"/>
      </dsp:style>
    </dsp:sp>
    <dsp:sp modelId="{A3C23961-C2AC-43F1-85DD-D091D241E25A}">
      <dsp:nvSpPr>
        <dsp:cNvPr id="0" name=""/>
        <dsp:cNvSpPr/>
      </dsp:nvSpPr>
      <dsp:spPr>
        <a:xfrm rot="5400000">
          <a:off x="2301975" y="2292001"/>
          <a:ext cx="446547" cy="508378"/>
        </a:xfrm>
        <a:prstGeom prst="bentUpArrow">
          <a:avLst>
            <a:gd name="adj1" fmla="val 32840"/>
            <a:gd name="adj2" fmla="val 25000"/>
            <a:gd name="adj3" fmla="val 35780"/>
          </a:avLst>
        </a:prstGeom>
        <a:solidFill>
          <a:schemeClr val="accent1">
            <a:tint val="50000"/>
            <a:hueOff val="40809"/>
            <a:satOff val="0"/>
            <a:lumOff val="6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BCDE98-8E19-4F33-ABDF-20CBA75843B1}">
      <dsp:nvSpPr>
        <dsp:cNvPr id="0" name=""/>
        <dsp:cNvSpPr/>
      </dsp:nvSpPr>
      <dsp:spPr>
        <a:xfrm>
          <a:off x="2183667" y="1796994"/>
          <a:ext cx="751723" cy="526182"/>
        </a:xfrm>
        <a:prstGeom prst="roundRect">
          <a:avLst>
            <a:gd name="adj" fmla="val 16670"/>
          </a:avLst>
        </a:prstGeom>
        <a:solidFill>
          <a:schemeClr val="accent1">
            <a:alpha val="90000"/>
            <a:hueOff val="0"/>
            <a:satOff val="0"/>
            <a:lumOff val="0"/>
            <a:alphaOff val="-24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evelop</a:t>
          </a:r>
          <a:endParaRPr lang="en-IN" sz="1300" kern="1200" dirty="0"/>
        </a:p>
      </dsp:txBody>
      <dsp:txXfrm>
        <a:off x="2209358" y="1822685"/>
        <a:ext cx="700341" cy="474800"/>
      </dsp:txXfrm>
    </dsp:sp>
    <dsp:sp modelId="{12C31E9C-897B-41BA-8D44-B35754295145}">
      <dsp:nvSpPr>
        <dsp:cNvPr id="0" name=""/>
        <dsp:cNvSpPr/>
      </dsp:nvSpPr>
      <dsp:spPr>
        <a:xfrm>
          <a:off x="2935391" y="1847177"/>
          <a:ext cx="546732" cy="425283"/>
        </a:xfrm>
        <a:prstGeom prst="rect">
          <a:avLst/>
        </a:prstGeom>
        <a:noFill/>
        <a:ln>
          <a:noFill/>
        </a:ln>
        <a:effectLst/>
      </dsp:spPr>
      <dsp:style>
        <a:lnRef idx="0">
          <a:scrgbClr r="0" g="0" b="0"/>
        </a:lnRef>
        <a:fillRef idx="0">
          <a:scrgbClr r="0" g="0" b="0"/>
        </a:fillRef>
        <a:effectRef idx="0">
          <a:scrgbClr r="0" g="0" b="0"/>
        </a:effectRef>
        <a:fontRef idx="minor"/>
      </dsp:style>
    </dsp:sp>
    <dsp:sp modelId="{624F2B9B-C063-4D53-8509-1AA041F49624}">
      <dsp:nvSpPr>
        <dsp:cNvPr id="0" name=""/>
        <dsp:cNvSpPr/>
      </dsp:nvSpPr>
      <dsp:spPr>
        <a:xfrm rot="5400000">
          <a:off x="2925234" y="2883077"/>
          <a:ext cx="446547" cy="508378"/>
        </a:xfrm>
        <a:prstGeom prst="bentUpArrow">
          <a:avLst>
            <a:gd name="adj1" fmla="val 32840"/>
            <a:gd name="adj2" fmla="val 25000"/>
            <a:gd name="adj3" fmla="val 35780"/>
          </a:avLst>
        </a:prstGeom>
        <a:solidFill>
          <a:schemeClr val="accent1">
            <a:tint val="50000"/>
            <a:hueOff val="54412"/>
            <a:satOff val="0"/>
            <a:lumOff val="8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44409DA-F6C8-4FF5-A7FE-2573D713A7D0}">
      <dsp:nvSpPr>
        <dsp:cNvPr id="0" name=""/>
        <dsp:cNvSpPr/>
      </dsp:nvSpPr>
      <dsp:spPr>
        <a:xfrm>
          <a:off x="2806926" y="2388070"/>
          <a:ext cx="751723" cy="526182"/>
        </a:xfrm>
        <a:prstGeom prst="roundRect">
          <a:avLst>
            <a:gd name="adj" fmla="val 16670"/>
          </a:avLst>
        </a:prstGeom>
        <a:solidFill>
          <a:schemeClr val="accent1">
            <a:alpha val="90000"/>
            <a:hueOff val="0"/>
            <a:satOff val="0"/>
            <a:lumOff val="0"/>
            <a:alphaOff val="-32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IN" sz="1300" kern="1200" dirty="0"/>
            <a:t>Test</a:t>
          </a:r>
        </a:p>
      </dsp:txBody>
      <dsp:txXfrm>
        <a:off x="2832617" y="2413761"/>
        <a:ext cx="700341" cy="474800"/>
      </dsp:txXfrm>
    </dsp:sp>
    <dsp:sp modelId="{81914A5E-2085-4090-B6D2-C4596A60ED03}">
      <dsp:nvSpPr>
        <dsp:cNvPr id="0" name=""/>
        <dsp:cNvSpPr/>
      </dsp:nvSpPr>
      <dsp:spPr>
        <a:xfrm>
          <a:off x="3558649" y="2438254"/>
          <a:ext cx="546732" cy="425283"/>
        </a:xfrm>
        <a:prstGeom prst="rect">
          <a:avLst/>
        </a:prstGeom>
        <a:noFill/>
        <a:ln>
          <a:noFill/>
        </a:ln>
        <a:effectLst/>
      </dsp:spPr>
      <dsp:style>
        <a:lnRef idx="0">
          <a:scrgbClr r="0" g="0" b="0"/>
        </a:lnRef>
        <a:fillRef idx="0">
          <a:scrgbClr r="0" g="0" b="0"/>
        </a:fillRef>
        <a:effectRef idx="0">
          <a:scrgbClr r="0" g="0" b="0"/>
        </a:effectRef>
        <a:fontRef idx="minor"/>
      </dsp:style>
    </dsp:sp>
    <dsp:sp modelId="{71964A2E-616E-4C88-94DA-3E1E9CE3E7C1}">
      <dsp:nvSpPr>
        <dsp:cNvPr id="0" name=""/>
        <dsp:cNvSpPr/>
      </dsp:nvSpPr>
      <dsp:spPr>
        <a:xfrm>
          <a:off x="3430184" y="2979146"/>
          <a:ext cx="751723" cy="526182"/>
        </a:xfrm>
        <a:prstGeom prst="roundRect">
          <a:avLst>
            <a:gd name="adj" fmla="val 16670"/>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IN" sz="1300" kern="1200" dirty="0"/>
            <a:t>Deploy</a:t>
          </a:r>
        </a:p>
      </dsp:txBody>
      <dsp:txXfrm>
        <a:off x="3455875" y="3004837"/>
        <a:ext cx="700341" cy="4748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F103BC-91E9-44C3-BDEC-5C1F988EBAC9}">
      <dsp:nvSpPr>
        <dsp:cNvPr id="0" name=""/>
        <dsp:cNvSpPr/>
      </dsp:nvSpPr>
      <dsp:spPr>
        <a:xfrm>
          <a:off x="0" y="3368411"/>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98A2D8-ACF1-44EE-9E0F-9C45D73565D6}">
      <dsp:nvSpPr>
        <dsp:cNvPr id="0" name=""/>
        <dsp:cNvSpPr/>
      </dsp:nvSpPr>
      <dsp:spPr>
        <a:xfrm>
          <a:off x="0" y="2590332"/>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484DF9-1364-477E-8299-9A5397453C46}">
      <dsp:nvSpPr>
        <dsp:cNvPr id="0" name=""/>
        <dsp:cNvSpPr/>
      </dsp:nvSpPr>
      <dsp:spPr>
        <a:xfrm>
          <a:off x="0" y="1812253"/>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AD71F0-8990-4EC4-99B6-D916E386FD63}">
      <dsp:nvSpPr>
        <dsp:cNvPr id="0" name=""/>
        <dsp:cNvSpPr/>
      </dsp:nvSpPr>
      <dsp:spPr>
        <a:xfrm>
          <a:off x="0" y="1034174"/>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B3F0F8-69D5-4CC8-8914-9F227F7B5115}">
      <dsp:nvSpPr>
        <dsp:cNvPr id="0" name=""/>
        <dsp:cNvSpPr/>
      </dsp:nvSpPr>
      <dsp:spPr>
        <a:xfrm>
          <a:off x="0" y="256095"/>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9614BB7-D6C7-4435-B437-18E154CB3859}">
      <dsp:nvSpPr>
        <dsp:cNvPr id="0" name=""/>
        <dsp:cNvSpPr/>
      </dsp:nvSpPr>
      <dsp:spPr>
        <a:xfrm>
          <a:off x="2121745" y="1012"/>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1012"/>
        <a:ext cx="6038813" cy="255082"/>
      </dsp:txXfrm>
    </dsp:sp>
    <dsp:sp modelId="{9C50BCFC-D54F-4BA2-9552-7F0FE6B4C80D}">
      <dsp:nvSpPr>
        <dsp:cNvPr id="0" name=""/>
        <dsp:cNvSpPr/>
      </dsp:nvSpPr>
      <dsp:spPr>
        <a:xfrm>
          <a:off x="0" y="1012"/>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Container</a:t>
          </a:r>
          <a:r>
            <a:rPr lang="en-IN" sz="1200" kern="1200" baseline="0" dirty="0"/>
            <a:t> Image</a:t>
          </a:r>
          <a:endParaRPr lang="en-IN" sz="1200" kern="1200" dirty="0"/>
        </a:p>
      </dsp:txBody>
      <dsp:txXfrm>
        <a:off x="12454" y="13466"/>
        <a:ext cx="2096837" cy="242628"/>
      </dsp:txXfrm>
    </dsp:sp>
    <dsp:sp modelId="{8102EF08-2D89-410F-9777-5630572C5832}">
      <dsp:nvSpPr>
        <dsp:cNvPr id="0" name=""/>
        <dsp:cNvSpPr/>
      </dsp:nvSpPr>
      <dsp:spPr>
        <a:xfrm>
          <a:off x="0" y="256095"/>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FontTx/>
            <a:buNone/>
          </a:pPr>
          <a:r>
            <a:rPr lang="en-US" sz="900" kern="1200" dirty="0">
              <a:solidFill>
                <a:schemeClr val="tx2"/>
              </a:solidFill>
            </a:rPr>
            <a:t>A container image is a executable package that contains everything needed to run an application consistently across different environments. It is a software package.</a:t>
          </a:r>
          <a:endParaRPr lang="en-IN" sz="900" kern="1200" dirty="0">
            <a:solidFill>
              <a:schemeClr val="tx2"/>
            </a:solidFill>
          </a:endParaRPr>
        </a:p>
      </dsp:txBody>
      <dsp:txXfrm>
        <a:off x="0" y="256095"/>
        <a:ext cx="8160559" cy="510242"/>
      </dsp:txXfrm>
    </dsp:sp>
    <dsp:sp modelId="{CF61EFEB-DCC9-4211-BF27-6C17205E86C1}">
      <dsp:nvSpPr>
        <dsp:cNvPr id="0" name=""/>
        <dsp:cNvSpPr/>
      </dsp:nvSpPr>
      <dsp:spPr>
        <a:xfrm>
          <a:off x="2121745" y="779091"/>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779091"/>
        <a:ext cx="6038813" cy="255082"/>
      </dsp:txXfrm>
    </dsp:sp>
    <dsp:sp modelId="{476383A8-643B-42C9-8981-564251140A05}">
      <dsp:nvSpPr>
        <dsp:cNvPr id="0" name=""/>
        <dsp:cNvSpPr/>
      </dsp:nvSpPr>
      <dsp:spPr>
        <a:xfrm>
          <a:off x="0" y="779091"/>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Containers</a:t>
          </a:r>
        </a:p>
      </dsp:txBody>
      <dsp:txXfrm>
        <a:off x="12454" y="791545"/>
        <a:ext cx="2096837" cy="242628"/>
      </dsp:txXfrm>
    </dsp:sp>
    <dsp:sp modelId="{7195114F-D131-4C84-8B92-B164332B3FAA}">
      <dsp:nvSpPr>
        <dsp:cNvPr id="0" name=""/>
        <dsp:cNvSpPr/>
      </dsp:nvSpPr>
      <dsp:spPr>
        <a:xfrm>
          <a:off x="0" y="1034174"/>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None/>
          </a:pPr>
          <a:r>
            <a:rPr lang="en-IN" sz="900" kern="1200" dirty="0">
              <a:solidFill>
                <a:schemeClr val="tx2"/>
              </a:solidFill>
            </a:rPr>
            <a:t>Containers are running instance of Container image. A process which runs when executing a container image. Multiple instance of process can be tarted from one container image</a:t>
          </a:r>
        </a:p>
      </dsp:txBody>
      <dsp:txXfrm>
        <a:off x="0" y="1034174"/>
        <a:ext cx="8160559" cy="510242"/>
      </dsp:txXfrm>
    </dsp:sp>
    <dsp:sp modelId="{4DE09FB2-9492-4AE6-836C-CC8EB459781A}">
      <dsp:nvSpPr>
        <dsp:cNvPr id="0" name=""/>
        <dsp:cNvSpPr/>
      </dsp:nvSpPr>
      <dsp:spPr>
        <a:xfrm>
          <a:off x="2121745" y="1557170"/>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1557170"/>
        <a:ext cx="6038813" cy="255082"/>
      </dsp:txXfrm>
    </dsp:sp>
    <dsp:sp modelId="{F1107D10-0233-48CF-91E7-E922D72F80A5}">
      <dsp:nvSpPr>
        <dsp:cNvPr id="0" name=""/>
        <dsp:cNvSpPr/>
      </dsp:nvSpPr>
      <dsp:spPr>
        <a:xfrm>
          <a:off x="0" y="1557170"/>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Container Runtime</a:t>
          </a:r>
        </a:p>
      </dsp:txBody>
      <dsp:txXfrm>
        <a:off x="12454" y="1569624"/>
        <a:ext cx="2096837" cy="242628"/>
      </dsp:txXfrm>
    </dsp:sp>
    <dsp:sp modelId="{ED2BE4A4-5982-459E-ADB7-A9908D561E72}">
      <dsp:nvSpPr>
        <dsp:cNvPr id="0" name=""/>
        <dsp:cNvSpPr/>
      </dsp:nvSpPr>
      <dsp:spPr>
        <a:xfrm>
          <a:off x="0" y="1812253"/>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Font typeface="Arial" panose="020B0604020202020204" pitchFamily="34" charset="0"/>
            <a:buNone/>
          </a:pPr>
          <a:r>
            <a:rPr lang="en-US" sz="900" kern="1200" dirty="0">
              <a:solidFill>
                <a:schemeClr val="tx2"/>
              </a:solidFill>
            </a:rPr>
            <a:t>A </a:t>
          </a:r>
          <a:r>
            <a:rPr lang="en-US" sz="900" b="1" kern="1200" dirty="0">
              <a:solidFill>
                <a:schemeClr val="tx2"/>
              </a:solidFill>
            </a:rPr>
            <a:t>container runtime</a:t>
          </a:r>
          <a:r>
            <a:rPr lang="en-US" sz="900" kern="1200" dirty="0">
              <a:solidFill>
                <a:schemeClr val="tx2"/>
              </a:solidFill>
            </a:rPr>
            <a:t> is the software responsible which executes the container image and create containers It ensures the lifecycle of containers. There are different container runtimes. Ex. podman, docker engine containerd, CRI-O</a:t>
          </a:r>
          <a:endParaRPr lang="en-IN" sz="900" kern="1200" dirty="0">
            <a:solidFill>
              <a:schemeClr val="tx2"/>
            </a:solidFill>
          </a:endParaRPr>
        </a:p>
      </dsp:txBody>
      <dsp:txXfrm>
        <a:off x="0" y="1812253"/>
        <a:ext cx="8160559" cy="510242"/>
      </dsp:txXfrm>
    </dsp:sp>
    <dsp:sp modelId="{D82ACAAE-9A09-428F-A11E-3F3EEFAEC9D5}">
      <dsp:nvSpPr>
        <dsp:cNvPr id="0" name=""/>
        <dsp:cNvSpPr/>
      </dsp:nvSpPr>
      <dsp:spPr>
        <a:xfrm>
          <a:off x="2121745" y="2335249"/>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2335249"/>
        <a:ext cx="6038813" cy="255082"/>
      </dsp:txXfrm>
    </dsp:sp>
    <dsp:sp modelId="{476E3AE9-6DA8-46AF-9B7A-8D54AE19B71D}">
      <dsp:nvSpPr>
        <dsp:cNvPr id="0" name=""/>
        <dsp:cNvSpPr/>
      </dsp:nvSpPr>
      <dsp:spPr>
        <a:xfrm>
          <a:off x="0" y="2335249"/>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Container Registry</a:t>
          </a:r>
        </a:p>
      </dsp:txBody>
      <dsp:txXfrm>
        <a:off x="12454" y="2347703"/>
        <a:ext cx="2096837" cy="242628"/>
      </dsp:txXfrm>
    </dsp:sp>
    <dsp:sp modelId="{7766C3E4-7CD4-4871-99F1-58E33122CBB5}">
      <dsp:nvSpPr>
        <dsp:cNvPr id="0" name=""/>
        <dsp:cNvSpPr/>
      </dsp:nvSpPr>
      <dsp:spPr>
        <a:xfrm>
          <a:off x="0" y="2590332"/>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None/>
          </a:pPr>
          <a:r>
            <a:rPr lang="en-IN" sz="900" kern="1200" dirty="0">
              <a:solidFill>
                <a:schemeClr val="tx2"/>
              </a:solidFill>
            </a:rPr>
            <a:t> A container registry is a central software repository hub which stores container images. Central public container registries are </a:t>
          </a:r>
          <a:r>
            <a:rPr lang="en-IN" sz="900" kern="1200" dirty="0">
              <a:solidFill>
                <a:schemeClr val="tx2"/>
              </a:solidFill>
              <a:hlinkClick xmlns:r="http://schemas.openxmlformats.org/officeDocument/2006/relationships" r:id="rId1">
                <a:extLst>
                  <a:ext uri="{A12FA001-AC4F-418D-AE19-62706E023703}">
                    <ahyp:hlinkClr xmlns:ahyp="http://schemas.microsoft.com/office/drawing/2018/hyperlinkcolor" val="tx"/>
                  </a:ext>
                </a:extLst>
              </a:hlinkClick>
            </a:rPr>
            <a:t>https://hub.docker.com/</a:t>
          </a:r>
          <a:r>
            <a:rPr lang="en-IN" sz="900" kern="1200" dirty="0">
              <a:solidFill>
                <a:schemeClr val="tx2"/>
              </a:solidFill>
            </a:rPr>
            <a:t>, google public cloud storage etc..</a:t>
          </a:r>
        </a:p>
      </dsp:txBody>
      <dsp:txXfrm>
        <a:off x="0" y="2590332"/>
        <a:ext cx="8160559" cy="510242"/>
      </dsp:txXfrm>
    </dsp:sp>
    <dsp:sp modelId="{12363F8C-977D-470C-A868-931A86AEFAD7}">
      <dsp:nvSpPr>
        <dsp:cNvPr id="0" name=""/>
        <dsp:cNvSpPr/>
      </dsp:nvSpPr>
      <dsp:spPr>
        <a:xfrm>
          <a:off x="2121745" y="3113328"/>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3113328"/>
        <a:ext cx="6038813" cy="255082"/>
      </dsp:txXfrm>
    </dsp:sp>
    <dsp:sp modelId="{D544AD11-C671-40DD-8885-93A7E81621A8}">
      <dsp:nvSpPr>
        <dsp:cNvPr id="0" name=""/>
        <dsp:cNvSpPr/>
      </dsp:nvSpPr>
      <dsp:spPr>
        <a:xfrm>
          <a:off x="0" y="3113328"/>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Container</a:t>
          </a:r>
          <a:r>
            <a:rPr lang="en-IN" sz="1200" kern="1200" baseline="0" dirty="0"/>
            <a:t> Tag</a:t>
          </a:r>
          <a:endParaRPr lang="en-IN" sz="1200" kern="1200" dirty="0"/>
        </a:p>
      </dsp:txBody>
      <dsp:txXfrm>
        <a:off x="12454" y="3125782"/>
        <a:ext cx="2096837" cy="242628"/>
      </dsp:txXfrm>
    </dsp:sp>
    <dsp:sp modelId="{83D5A534-EB35-4E74-8F7D-F0C323A6741D}">
      <dsp:nvSpPr>
        <dsp:cNvPr id="0" name=""/>
        <dsp:cNvSpPr/>
      </dsp:nvSpPr>
      <dsp:spPr>
        <a:xfrm>
          <a:off x="0" y="3368411"/>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None/>
          </a:pPr>
          <a:r>
            <a:rPr lang="en-IN" sz="900" kern="1200" dirty="0">
              <a:solidFill>
                <a:schemeClr val="tx2"/>
              </a:solidFill>
            </a:rPr>
            <a:t>Container Tag is the version which distinguish different container image versions. It is similar to software version.</a:t>
          </a:r>
        </a:p>
      </dsp:txBody>
      <dsp:txXfrm>
        <a:off x="0" y="3368411"/>
        <a:ext cx="8160559" cy="5102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3B473-6649-48BB-A0AC-326090673B07}">
      <dsp:nvSpPr>
        <dsp:cNvPr id="0" name=""/>
        <dsp:cNvSpPr/>
      </dsp:nvSpPr>
      <dsp:spPr>
        <a:xfrm>
          <a:off x="1847843" y="1025167"/>
          <a:ext cx="1303032" cy="1127175"/>
        </a:xfrm>
        <a:prstGeom prst="hexagon">
          <a:avLst>
            <a:gd name="adj" fmla="val 28570"/>
            <a:gd name="vf" fmla="val 11547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IN" sz="900" kern="1200" dirty="0"/>
            <a:t>Features of Kubernetes</a:t>
          </a:r>
        </a:p>
      </dsp:txBody>
      <dsp:txXfrm>
        <a:off x="2063774" y="1211956"/>
        <a:ext cx="871170" cy="753597"/>
      </dsp:txXfrm>
    </dsp:sp>
    <dsp:sp modelId="{0546B1B5-A0A5-4C49-A120-BF70C7714AC8}">
      <dsp:nvSpPr>
        <dsp:cNvPr id="0" name=""/>
        <dsp:cNvSpPr/>
      </dsp:nvSpPr>
      <dsp:spPr>
        <a:xfrm>
          <a:off x="2663791" y="485890"/>
          <a:ext cx="491630" cy="423604"/>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3ED9A4C-47CB-4A21-A57D-40FF17C21327}">
      <dsp:nvSpPr>
        <dsp:cNvPr id="0" name=""/>
        <dsp:cNvSpPr/>
      </dsp:nvSpPr>
      <dsp:spPr>
        <a:xfrm>
          <a:off x="1967871" y="0"/>
          <a:ext cx="1067825" cy="923794"/>
        </a:xfrm>
        <a:prstGeom prst="hexagon">
          <a:avLst>
            <a:gd name="adj" fmla="val 28570"/>
            <a:gd name="vf" fmla="val 11547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IN" sz="900" kern="1200" dirty="0"/>
            <a:t>Declarative</a:t>
          </a:r>
          <a:r>
            <a:rPr lang="en-IN" sz="900" kern="1200" baseline="0" dirty="0"/>
            <a:t> container orchestration</a:t>
          </a:r>
          <a:endParaRPr lang="en-IN" sz="900" kern="1200" dirty="0"/>
        </a:p>
      </dsp:txBody>
      <dsp:txXfrm>
        <a:off x="2144832" y="153092"/>
        <a:ext cx="713903" cy="617610"/>
      </dsp:txXfrm>
    </dsp:sp>
    <dsp:sp modelId="{D7B416DA-A2F6-44D9-9EB8-47E35006FBF5}">
      <dsp:nvSpPr>
        <dsp:cNvPr id="0" name=""/>
        <dsp:cNvSpPr/>
      </dsp:nvSpPr>
      <dsp:spPr>
        <a:xfrm>
          <a:off x="3237562" y="1277805"/>
          <a:ext cx="491630" cy="423604"/>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C00D13-AB26-4E3F-B95A-AF6181DFE22C}">
      <dsp:nvSpPr>
        <dsp:cNvPr id="0" name=""/>
        <dsp:cNvSpPr/>
      </dsp:nvSpPr>
      <dsp:spPr>
        <a:xfrm>
          <a:off x="2947191" y="568195"/>
          <a:ext cx="1067825" cy="923794"/>
        </a:xfrm>
        <a:prstGeom prst="hexagon">
          <a:avLst>
            <a:gd name="adj" fmla="val 28570"/>
            <a:gd name="vf" fmla="val 115470"/>
          </a:avLst>
        </a:prstGeom>
        <a:solidFill>
          <a:schemeClr val="accent2">
            <a:shade val="80000"/>
            <a:hueOff val="27918"/>
            <a:satOff val="-6301"/>
            <a:lumOff val="64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IN" sz="900" kern="1200" dirty="0"/>
            <a:t>Storage Automation</a:t>
          </a:r>
        </a:p>
      </dsp:txBody>
      <dsp:txXfrm>
        <a:off x="3124152" y="721287"/>
        <a:ext cx="713903" cy="617610"/>
      </dsp:txXfrm>
    </dsp:sp>
    <dsp:sp modelId="{72D3EFE9-BCA1-4F09-82C6-46D24D18D5DF}">
      <dsp:nvSpPr>
        <dsp:cNvPr id="0" name=""/>
        <dsp:cNvSpPr/>
      </dsp:nvSpPr>
      <dsp:spPr>
        <a:xfrm>
          <a:off x="2838984" y="2171728"/>
          <a:ext cx="491630" cy="423604"/>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EFC96A6-E25E-4B30-B35A-13241F014051}">
      <dsp:nvSpPr>
        <dsp:cNvPr id="0" name=""/>
        <dsp:cNvSpPr/>
      </dsp:nvSpPr>
      <dsp:spPr>
        <a:xfrm>
          <a:off x="2947191" y="1685202"/>
          <a:ext cx="1067825" cy="923794"/>
        </a:xfrm>
        <a:prstGeom prst="hexagon">
          <a:avLst>
            <a:gd name="adj" fmla="val 28570"/>
            <a:gd name="vf" fmla="val 115470"/>
          </a:avLst>
        </a:prstGeom>
        <a:solidFill>
          <a:schemeClr val="accent2">
            <a:shade val="80000"/>
            <a:hueOff val="55836"/>
            <a:satOff val="-12602"/>
            <a:lumOff val="128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IN" sz="900" kern="1200" dirty="0"/>
            <a:t>Service Discovery &amp; Load Balancing</a:t>
          </a:r>
        </a:p>
      </dsp:txBody>
      <dsp:txXfrm>
        <a:off x="3124152" y="1838294"/>
        <a:ext cx="713903" cy="617610"/>
      </dsp:txXfrm>
    </dsp:sp>
    <dsp:sp modelId="{E4155B72-8091-4DE6-BD95-6390DC686660}">
      <dsp:nvSpPr>
        <dsp:cNvPr id="0" name=""/>
        <dsp:cNvSpPr/>
      </dsp:nvSpPr>
      <dsp:spPr>
        <a:xfrm>
          <a:off x="1850267" y="2264520"/>
          <a:ext cx="491630" cy="423604"/>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AD38177-62E6-4FA0-94D8-7A9BEF66EF01}">
      <dsp:nvSpPr>
        <dsp:cNvPr id="0" name=""/>
        <dsp:cNvSpPr/>
      </dsp:nvSpPr>
      <dsp:spPr>
        <a:xfrm>
          <a:off x="1967871" y="2254034"/>
          <a:ext cx="1067825" cy="923794"/>
        </a:xfrm>
        <a:prstGeom prst="hexagon">
          <a:avLst>
            <a:gd name="adj" fmla="val 28570"/>
            <a:gd name="vf" fmla="val 115470"/>
          </a:avLst>
        </a:prstGeom>
        <a:solidFill>
          <a:schemeClr val="accent2">
            <a:shade val="80000"/>
            <a:hueOff val="83754"/>
            <a:satOff val="-18904"/>
            <a:lumOff val="192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IN" sz="900" kern="1200" dirty="0"/>
            <a:t>Auto Scale Features</a:t>
          </a:r>
        </a:p>
      </dsp:txBody>
      <dsp:txXfrm>
        <a:off x="2144832" y="2407126"/>
        <a:ext cx="713903" cy="617610"/>
      </dsp:txXfrm>
    </dsp:sp>
    <dsp:sp modelId="{CC3150F3-20C1-4714-8652-CBA302326152}">
      <dsp:nvSpPr>
        <dsp:cNvPr id="0" name=""/>
        <dsp:cNvSpPr/>
      </dsp:nvSpPr>
      <dsp:spPr>
        <a:xfrm>
          <a:off x="1267100" y="1472923"/>
          <a:ext cx="491630" cy="423604"/>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DA3527-51F7-49CE-AE4E-D66AD856C1E6}">
      <dsp:nvSpPr>
        <dsp:cNvPr id="0" name=""/>
        <dsp:cNvSpPr/>
      </dsp:nvSpPr>
      <dsp:spPr>
        <a:xfrm>
          <a:off x="984004" y="1685838"/>
          <a:ext cx="1067825" cy="923794"/>
        </a:xfrm>
        <a:prstGeom prst="hexagon">
          <a:avLst>
            <a:gd name="adj" fmla="val 28570"/>
            <a:gd name="vf" fmla="val 115470"/>
          </a:avLst>
        </a:prstGeom>
        <a:solidFill>
          <a:schemeClr val="accent2">
            <a:shade val="80000"/>
            <a:hueOff val="111672"/>
            <a:satOff val="-25205"/>
            <a:lumOff val="256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IN" sz="900" kern="1200" dirty="0"/>
            <a:t>Rolling Updates and Rollbacks</a:t>
          </a:r>
        </a:p>
      </dsp:txBody>
      <dsp:txXfrm>
        <a:off x="1160965" y="1838930"/>
        <a:ext cx="713903" cy="617610"/>
      </dsp:txXfrm>
    </dsp:sp>
    <dsp:sp modelId="{8A79CE8C-7719-4E2E-8D2B-077FA133BFA0}">
      <dsp:nvSpPr>
        <dsp:cNvPr id="0" name=""/>
        <dsp:cNvSpPr/>
      </dsp:nvSpPr>
      <dsp:spPr>
        <a:xfrm>
          <a:off x="984004" y="566924"/>
          <a:ext cx="1067825" cy="923794"/>
        </a:xfrm>
        <a:prstGeom prst="hexagon">
          <a:avLst>
            <a:gd name="adj" fmla="val 28570"/>
            <a:gd name="vf" fmla="val 115470"/>
          </a:avLst>
        </a:prstGeom>
        <a:solidFill>
          <a:schemeClr val="accent2">
            <a:shade val="80000"/>
            <a:hueOff val="139590"/>
            <a:satOff val="-31506"/>
            <a:lumOff val="321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IN" sz="900" kern="1200" dirty="0"/>
            <a:t>Multi Cloud &amp; On Prem Support</a:t>
          </a:r>
        </a:p>
      </dsp:txBody>
      <dsp:txXfrm>
        <a:off x="1160965" y="720016"/>
        <a:ext cx="713903" cy="61761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F103BC-91E9-44C3-BDEC-5C1F988EBAC9}">
      <dsp:nvSpPr>
        <dsp:cNvPr id="0" name=""/>
        <dsp:cNvSpPr/>
      </dsp:nvSpPr>
      <dsp:spPr>
        <a:xfrm>
          <a:off x="0" y="3368411"/>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98A2D8-ACF1-44EE-9E0F-9C45D73565D6}">
      <dsp:nvSpPr>
        <dsp:cNvPr id="0" name=""/>
        <dsp:cNvSpPr/>
      </dsp:nvSpPr>
      <dsp:spPr>
        <a:xfrm>
          <a:off x="0" y="2590332"/>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484DF9-1364-477E-8299-9A5397453C46}">
      <dsp:nvSpPr>
        <dsp:cNvPr id="0" name=""/>
        <dsp:cNvSpPr/>
      </dsp:nvSpPr>
      <dsp:spPr>
        <a:xfrm>
          <a:off x="0" y="1812253"/>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AD71F0-8990-4EC4-99B6-D916E386FD63}">
      <dsp:nvSpPr>
        <dsp:cNvPr id="0" name=""/>
        <dsp:cNvSpPr/>
      </dsp:nvSpPr>
      <dsp:spPr>
        <a:xfrm>
          <a:off x="0" y="1034174"/>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B3F0F8-69D5-4CC8-8914-9F227F7B5115}">
      <dsp:nvSpPr>
        <dsp:cNvPr id="0" name=""/>
        <dsp:cNvSpPr/>
      </dsp:nvSpPr>
      <dsp:spPr>
        <a:xfrm>
          <a:off x="0" y="256095"/>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9614BB7-D6C7-4435-B437-18E154CB3859}">
      <dsp:nvSpPr>
        <dsp:cNvPr id="0" name=""/>
        <dsp:cNvSpPr/>
      </dsp:nvSpPr>
      <dsp:spPr>
        <a:xfrm>
          <a:off x="2121745" y="1012"/>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1012"/>
        <a:ext cx="6038813" cy="255082"/>
      </dsp:txXfrm>
    </dsp:sp>
    <dsp:sp modelId="{9C50BCFC-D54F-4BA2-9552-7F0FE6B4C80D}">
      <dsp:nvSpPr>
        <dsp:cNvPr id="0" name=""/>
        <dsp:cNvSpPr/>
      </dsp:nvSpPr>
      <dsp:spPr>
        <a:xfrm>
          <a:off x="0" y="1012"/>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Node</a:t>
          </a:r>
        </a:p>
      </dsp:txBody>
      <dsp:txXfrm>
        <a:off x="12454" y="13466"/>
        <a:ext cx="2096837" cy="242628"/>
      </dsp:txXfrm>
    </dsp:sp>
    <dsp:sp modelId="{8102EF08-2D89-410F-9777-5630572C5832}">
      <dsp:nvSpPr>
        <dsp:cNvPr id="0" name=""/>
        <dsp:cNvSpPr/>
      </dsp:nvSpPr>
      <dsp:spPr>
        <a:xfrm>
          <a:off x="0" y="256095"/>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FontTx/>
            <a:buNone/>
          </a:pPr>
          <a:r>
            <a:rPr lang="en-US" sz="900" kern="1200" dirty="0">
              <a:solidFill>
                <a:schemeClr val="tx2"/>
              </a:solidFill>
            </a:rPr>
            <a:t>A Kubernetes Node is a worker machine (virtual or physical) where containers run. Nodes are managed by the Kubernetes Control Plane and are responsible for running Pods.</a:t>
          </a:r>
          <a:endParaRPr lang="en-IN" sz="900" kern="1200" dirty="0">
            <a:solidFill>
              <a:schemeClr val="tx2"/>
            </a:solidFill>
          </a:endParaRPr>
        </a:p>
      </dsp:txBody>
      <dsp:txXfrm>
        <a:off x="0" y="256095"/>
        <a:ext cx="8160559" cy="510242"/>
      </dsp:txXfrm>
    </dsp:sp>
    <dsp:sp modelId="{CF61EFEB-DCC9-4211-BF27-6C17205E86C1}">
      <dsp:nvSpPr>
        <dsp:cNvPr id="0" name=""/>
        <dsp:cNvSpPr/>
      </dsp:nvSpPr>
      <dsp:spPr>
        <a:xfrm>
          <a:off x="2121745" y="779091"/>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779091"/>
        <a:ext cx="6038813" cy="255082"/>
      </dsp:txXfrm>
    </dsp:sp>
    <dsp:sp modelId="{476383A8-643B-42C9-8981-564251140A05}">
      <dsp:nvSpPr>
        <dsp:cNvPr id="0" name=""/>
        <dsp:cNvSpPr/>
      </dsp:nvSpPr>
      <dsp:spPr>
        <a:xfrm>
          <a:off x="0" y="779091"/>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Cluster</a:t>
          </a:r>
        </a:p>
      </dsp:txBody>
      <dsp:txXfrm>
        <a:off x="12454" y="791545"/>
        <a:ext cx="2096837" cy="242628"/>
      </dsp:txXfrm>
    </dsp:sp>
    <dsp:sp modelId="{7195114F-D131-4C84-8B92-B164332B3FAA}">
      <dsp:nvSpPr>
        <dsp:cNvPr id="0" name=""/>
        <dsp:cNvSpPr/>
      </dsp:nvSpPr>
      <dsp:spPr>
        <a:xfrm>
          <a:off x="0" y="1034174"/>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None/>
          </a:pPr>
          <a:r>
            <a:rPr lang="en-US" sz="900" kern="1200" dirty="0">
              <a:solidFill>
                <a:schemeClr val="tx2"/>
              </a:solidFill>
            </a:rPr>
            <a:t>A Kubernetes cluster is a set of nodes that work together to run and manage containerized applications. It consists of worker nodes (where applications run) and a control plane (which manages the cluster).</a:t>
          </a:r>
          <a:endParaRPr lang="en-IN" sz="900" kern="1200" dirty="0">
            <a:solidFill>
              <a:schemeClr val="tx2"/>
            </a:solidFill>
          </a:endParaRPr>
        </a:p>
      </dsp:txBody>
      <dsp:txXfrm>
        <a:off x="0" y="1034174"/>
        <a:ext cx="8160559" cy="510242"/>
      </dsp:txXfrm>
    </dsp:sp>
    <dsp:sp modelId="{4DE09FB2-9492-4AE6-836C-CC8EB459781A}">
      <dsp:nvSpPr>
        <dsp:cNvPr id="0" name=""/>
        <dsp:cNvSpPr/>
      </dsp:nvSpPr>
      <dsp:spPr>
        <a:xfrm>
          <a:off x="2121745" y="1557170"/>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1557170"/>
        <a:ext cx="6038813" cy="255082"/>
      </dsp:txXfrm>
    </dsp:sp>
    <dsp:sp modelId="{F1107D10-0233-48CF-91E7-E922D72F80A5}">
      <dsp:nvSpPr>
        <dsp:cNvPr id="0" name=""/>
        <dsp:cNvSpPr/>
      </dsp:nvSpPr>
      <dsp:spPr>
        <a:xfrm>
          <a:off x="0" y="1557170"/>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Pods</a:t>
          </a:r>
        </a:p>
      </dsp:txBody>
      <dsp:txXfrm>
        <a:off x="12454" y="1569624"/>
        <a:ext cx="2096837" cy="242628"/>
      </dsp:txXfrm>
    </dsp:sp>
    <dsp:sp modelId="{ED2BE4A4-5982-459E-ADB7-A9908D561E72}">
      <dsp:nvSpPr>
        <dsp:cNvPr id="0" name=""/>
        <dsp:cNvSpPr/>
      </dsp:nvSpPr>
      <dsp:spPr>
        <a:xfrm>
          <a:off x="0" y="1812253"/>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Font typeface="Arial" panose="020B0604020202020204" pitchFamily="34" charset="0"/>
            <a:buNone/>
          </a:pPr>
          <a:r>
            <a:rPr lang="en-US" sz="900" kern="1200" dirty="0">
              <a:solidFill>
                <a:schemeClr val="tx2"/>
              </a:solidFill>
            </a:rPr>
            <a:t>A Pod is the smallest deployable unit in Kubernetes. It represents one or more containers that share storage, networking, and configuration.</a:t>
          </a:r>
          <a:endParaRPr lang="en-IN" sz="900" kern="1200" dirty="0">
            <a:solidFill>
              <a:schemeClr val="tx2"/>
            </a:solidFill>
          </a:endParaRPr>
        </a:p>
      </dsp:txBody>
      <dsp:txXfrm>
        <a:off x="0" y="1812253"/>
        <a:ext cx="8160559" cy="510242"/>
      </dsp:txXfrm>
    </dsp:sp>
    <dsp:sp modelId="{D82ACAAE-9A09-428F-A11E-3F3EEFAEC9D5}">
      <dsp:nvSpPr>
        <dsp:cNvPr id="0" name=""/>
        <dsp:cNvSpPr/>
      </dsp:nvSpPr>
      <dsp:spPr>
        <a:xfrm>
          <a:off x="2121745" y="2335249"/>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2335249"/>
        <a:ext cx="6038813" cy="255082"/>
      </dsp:txXfrm>
    </dsp:sp>
    <dsp:sp modelId="{476E3AE9-6DA8-46AF-9B7A-8D54AE19B71D}">
      <dsp:nvSpPr>
        <dsp:cNvPr id="0" name=""/>
        <dsp:cNvSpPr/>
      </dsp:nvSpPr>
      <dsp:spPr>
        <a:xfrm>
          <a:off x="0" y="2335249"/>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Control</a:t>
          </a:r>
          <a:r>
            <a:rPr lang="en-IN" sz="1200" kern="1200" baseline="0" dirty="0"/>
            <a:t> Plane</a:t>
          </a:r>
          <a:endParaRPr lang="en-IN" sz="1200" kern="1200" dirty="0"/>
        </a:p>
      </dsp:txBody>
      <dsp:txXfrm>
        <a:off x="12454" y="2347703"/>
        <a:ext cx="2096837" cy="242628"/>
      </dsp:txXfrm>
    </dsp:sp>
    <dsp:sp modelId="{7766C3E4-7CD4-4871-99F1-58E33122CBB5}">
      <dsp:nvSpPr>
        <dsp:cNvPr id="0" name=""/>
        <dsp:cNvSpPr/>
      </dsp:nvSpPr>
      <dsp:spPr>
        <a:xfrm>
          <a:off x="0" y="2590332"/>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None/>
          </a:pPr>
          <a:r>
            <a:rPr lang="en-US" sz="900" kern="1200" dirty="0">
              <a:solidFill>
                <a:schemeClr val="tx2"/>
              </a:solidFill>
            </a:rPr>
            <a:t>The Kubernetes Control Plane is the brain of the cluster. It manages and orchestrates all cluster operations, ensuring workloads run efficiently on worker nodes.</a:t>
          </a:r>
          <a:endParaRPr lang="en-IN" sz="900" kern="1200" dirty="0">
            <a:solidFill>
              <a:schemeClr val="tx2"/>
            </a:solidFill>
          </a:endParaRPr>
        </a:p>
      </dsp:txBody>
      <dsp:txXfrm>
        <a:off x="0" y="2590332"/>
        <a:ext cx="8160559" cy="510242"/>
      </dsp:txXfrm>
    </dsp:sp>
    <dsp:sp modelId="{12363F8C-977D-470C-A868-931A86AEFAD7}">
      <dsp:nvSpPr>
        <dsp:cNvPr id="0" name=""/>
        <dsp:cNvSpPr/>
      </dsp:nvSpPr>
      <dsp:spPr>
        <a:xfrm>
          <a:off x="2121745" y="3113328"/>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3113328"/>
        <a:ext cx="6038813" cy="255082"/>
      </dsp:txXfrm>
    </dsp:sp>
    <dsp:sp modelId="{D544AD11-C671-40DD-8885-93A7E81621A8}">
      <dsp:nvSpPr>
        <dsp:cNvPr id="0" name=""/>
        <dsp:cNvSpPr/>
      </dsp:nvSpPr>
      <dsp:spPr>
        <a:xfrm>
          <a:off x="0" y="3113328"/>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Deployment</a:t>
          </a:r>
        </a:p>
      </dsp:txBody>
      <dsp:txXfrm>
        <a:off x="12454" y="3125782"/>
        <a:ext cx="2096837" cy="242628"/>
      </dsp:txXfrm>
    </dsp:sp>
    <dsp:sp modelId="{83D5A534-EB35-4E74-8F7D-F0C323A6741D}">
      <dsp:nvSpPr>
        <dsp:cNvPr id="0" name=""/>
        <dsp:cNvSpPr/>
      </dsp:nvSpPr>
      <dsp:spPr>
        <a:xfrm>
          <a:off x="0" y="3368411"/>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None/>
          </a:pPr>
          <a:r>
            <a:rPr lang="en-US" sz="900" kern="1200" dirty="0">
              <a:solidFill>
                <a:schemeClr val="tx2"/>
              </a:solidFill>
            </a:rPr>
            <a:t>A Kubernetes Deployment is a higher-level abstraction that manages and automates the lifecycle of Pods. It ensures the correct number of replicas are running, supports rolling updates, and provides self-healing capabilities.</a:t>
          </a:r>
          <a:endParaRPr lang="en-IN" sz="900" kern="1200" dirty="0">
            <a:solidFill>
              <a:schemeClr val="tx2"/>
            </a:solidFill>
          </a:endParaRPr>
        </a:p>
      </dsp:txBody>
      <dsp:txXfrm>
        <a:off x="0" y="3368411"/>
        <a:ext cx="8160559" cy="5102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F103BC-91E9-44C3-BDEC-5C1F988EBAC9}">
      <dsp:nvSpPr>
        <dsp:cNvPr id="0" name=""/>
        <dsp:cNvSpPr/>
      </dsp:nvSpPr>
      <dsp:spPr>
        <a:xfrm>
          <a:off x="0" y="3368411"/>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98A2D8-ACF1-44EE-9E0F-9C45D73565D6}">
      <dsp:nvSpPr>
        <dsp:cNvPr id="0" name=""/>
        <dsp:cNvSpPr/>
      </dsp:nvSpPr>
      <dsp:spPr>
        <a:xfrm>
          <a:off x="0" y="2590332"/>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484DF9-1364-477E-8299-9A5397453C46}">
      <dsp:nvSpPr>
        <dsp:cNvPr id="0" name=""/>
        <dsp:cNvSpPr/>
      </dsp:nvSpPr>
      <dsp:spPr>
        <a:xfrm>
          <a:off x="0" y="1812253"/>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AD71F0-8990-4EC4-99B6-D916E386FD63}">
      <dsp:nvSpPr>
        <dsp:cNvPr id="0" name=""/>
        <dsp:cNvSpPr/>
      </dsp:nvSpPr>
      <dsp:spPr>
        <a:xfrm>
          <a:off x="0" y="1034174"/>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B3F0F8-69D5-4CC8-8914-9F227F7B5115}">
      <dsp:nvSpPr>
        <dsp:cNvPr id="0" name=""/>
        <dsp:cNvSpPr/>
      </dsp:nvSpPr>
      <dsp:spPr>
        <a:xfrm>
          <a:off x="0" y="256095"/>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9614BB7-D6C7-4435-B437-18E154CB3859}">
      <dsp:nvSpPr>
        <dsp:cNvPr id="0" name=""/>
        <dsp:cNvSpPr/>
      </dsp:nvSpPr>
      <dsp:spPr>
        <a:xfrm>
          <a:off x="2121745" y="1012"/>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1012"/>
        <a:ext cx="6038813" cy="255082"/>
      </dsp:txXfrm>
    </dsp:sp>
    <dsp:sp modelId="{9C50BCFC-D54F-4BA2-9552-7F0FE6B4C80D}">
      <dsp:nvSpPr>
        <dsp:cNvPr id="0" name=""/>
        <dsp:cNvSpPr/>
      </dsp:nvSpPr>
      <dsp:spPr>
        <a:xfrm>
          <a:off x="0" y="1012"/>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Job</a:t>
          </a:r>
        </a:p>
      </dsp:txBody>
      <dsp:txXfrm>
        <a:off x="12454" y="13466"/>
        <a:ext cx="2096837" cy="242628"/>
      </dsp:txXfrm>
    </dsp:sp>
    <dsp:sp modelId="{8102EF08-2D89-410F-9777-5630572C5832}">
      <dsp:nvSpPr>
        <dsp:cNvPr id="0" name=""/>
        <dsp:cNvSpPr/>
      </dsp:nvSpPr>
      <dsp:spPr>
        <a:xfrm>
          <a:off x="0" y="256095"/>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FontTx/>
            <a:buNone/>
          </a:pPr>
          <a:r>
            <a:rPr lang="en-US" sz="900" kern="1200" dirty="0">
              <a:solidFill>
                <a:schemeClr val="tx2"/>
              </a:solidFill>
            </a:rPr>
            <a:t>A Kubernetes Job is a workload resource that runs a task once (or a fixed number of times) and ensures it completes successfully. Unlike Deployments, which manage long-running applications, Jobs are used for short-lived, batch processing tasks. There is  special kind of workload in k8s called </a:t>
          </a:r>
          <a:r>
            <a:rPr lang="en-US" sz="900" kern="1200" dirty="0" err="1">
              <a:solidFill>
                <a:schemeClr val="tx2"/>
              </a:solidFill>
            </a:rPr>
            <a:t>cron</a:t>
          </a:r>
          <a:r>
            <a:rPr lang="en-US" sz="900" kern="1200" dirty="0">
              <a:solidFill>
                <a:schemeClr val="tx2"/>
              </a:solidFill>
            </a:rPr>
            <a:t>-job which runs at scheduled interval</a:t>
          </a:r>
          <a:endParaRPr lang="en-IN" sz="900" kern="1200" dirty="0">
            <a:solidFill>
              <a:schemeClr val="tx2"/>
            </a:solidFill>
          </a:endParaRPr>
        </a:p>
      </dsp:txBody>
      <dsp:txXfrm>
        <a:off x="0" y="256095"/>
        <a:ext cx="8160559" cy="510242"/>
      </dsp:txXfrm>
    </dsp:sp>
    <dsp:sp modelId="{CF61EFEB-DCC9-4211-BF27-6C17205E86C1}">
      <dsp:nvSpPr>
        <dsp:cNvPr id="0" name=""/>
        <dsp:cNvSpPr/>
      </dsp:nvSpPr>
      <dsp:spPr>
        <a:xfrm>
          <a:off x="2121745" y="779091"/>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779091"/>
        <a:ext cx="6038813" cy="255082"/>
      </dsp:txXfrm>
    </dsp:sp>
    <dsp:sp modelId="{476383A8-643B-42C9-8981-564251140A05}">
      <dsp:nvSpPr>
        <dsp:cNvPr id="0" name=""/>
        <dsp:cNvSpPr/>
      </dsp:nvSpPr>
      <dsp:spPr>
        <a:xfrm>
          <a:off x="0" y="779091"/>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Secret</a:t>
          </a:r>
        </a:p>
      </dsp:txBody>
      <dsp:txXfrm>
        <a:off x="12454" y="791545"/>
        <a:ext cx="2096837" cy="242628"/>
      </dsp:txXfrm>
    </dsp:sp>
    <dsp:sp modelId="{7195114F-D131-4C84-8B92-B164332B3FAA}">
      <dsp:nvSpPr>
        <dsp:cNvPr id="0" name=""/>
        <dsp:cNvSpPr/>
      </dsp:nvSpPr>
      <dsp:spPr>
        <a:xfrm>
          <a:off x="0" y="1034174"/>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None/>
          </a:pPr>
          <a:r>
            <a:rPr lang="en-US" sz="900" kern="1200" dirty="0">
              <a:solidFill>
                <a:schemeClr val="tx2"/>
              </a:solidFill>
            </a:rPr>
            <a:t>A Kubernetes Secret is an object used to store sensitive data, such as passwords, API keys, and certificates, securely. Secrets can be mounted to containers which can be used by the process</a:t>
          </a:r>
          <a:endParaRPr lang="en-IN" sz="900" kern="1200" dirty="0">
            <a:solidFill>
              <a:schemeClr val="tx2"/>
            </a:solidFill>
          </a:endParaRPr>
        </a:p>
      </dsp:txBody>
      <dsp:txXfrm>
        <a:off x="0" y="1034174"/>
        <a:ext cx="8160559" cy="510242"/>
      </dsp:txXfrm>
    </dsp:sp>
    <dsp:sp modelId="{4DE09FB2-9492-4AE6-836C-CC8EB459781A}">
      <dsp:nvSpPr>
        <dsp:cNvPr id="0" name=""/>
        <dsp:cNvSpPr/>
      </dsp:nvSpPr>
      <dsp:spPr>
        <a:xfrm>
          <a:off x="2121745" y="1557170"/>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1557170"/>
        <a:ext cx="6038813" cy="255082"/>
      </dsp:txXfrm>
    </dsp:sp>
    <dsp:sp modelId="{F1107D10-0233-48CF-91E7-E922D72F80A5}">
      <dsp:nvSpPr>
        <dsp:cNvPr id="0" name=""/>
        <dsp:cNvSpPr/>
      </dsp:nvSpPr>
      <dsp:spPr>
        <a:xfrm>
          <a:off x="0" y="1557170"/>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Config Map</a:t>
          </a:r>
        </a:p>
      </dsp:txBody>
      <dsp:txXfrm>
        <a:off x="12454" y="1569624"/>
        <a:ext cx="2096837" cy="242628"/>
      </dsp:txXfrm>
    </dsp:sp>
    <dsp:sp modelId="{ED2BE4A4-5982-459E-ADB7-A9908D561E72}">
      <dsp:nvSpPr>
        <dsp:cNvPr id="0" name=""/>
        <dsp:cNvSpPr/>
      </dsp:nvSpPr>
      <dsp:spPr>
        <a:xfrm>
          <a:off x="0" y="1812253"/>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Font typeface="Arial" panose="020B0604020202020204" pitchFamily="34" charset="0"/>
            <a:buNone/>
          </a:pPr>
          <a:r>
            <a:rPr lang="en-US" sz="900" kern="1200" dirty="0">
              <a:solidFill>
                <a:schemeClr val="tx2"/>
              </a:solidFill>
            </a:rPr>
            <a:t>A Kubernetes </a:t>
          </a:r>
          <a:r>
            <a:rPr lang="en-US" sz="900" kern="1200" dirty="0" err="1">
              <a:solidFill>
                <a:schemeClr val="tx2"/>
              </a:solidFill>
            </a:rPr>
            <a:t>ConfigMap</a:t>
          </a:r>
          <a:r>
            <a:rPr lang="en-US" sz="900" kern="1200" dirty="0">
              <a:solidFill>
                <a:schemeClr val="tx2"/>
              </a:solidFill>
            </a:rPr>
            <a:t> is an object used to store non-sensitive configuration data in key-value pairs. It allows separating configuration from application code, making deployments more flexible and manageable. It can be mounted as files to a container</a:t>
          </a:r>
          <a:endParaRPr lang="en-IN" sz="900" kern="1200" dirty="0">
            <a:solidFill>
              <a:schemeClr val="tx2"/>
            </a:solidFill>
          </a:endParaRPr>
        </a:p>
      </dsp:txBody>
      <dsp:txXfrm>
        <a:off x="0" y="1812253"/>
        <a:ext cx="8160559" cy="510242"/>
      </dsp:txXfrm>
    </dsp:sp>
    <dsp:sp modelId="{D82ACAAE-9A09-428F-A11E-3F3EEFAEC9D5}">
      <dsp:nvSpPr>
        <dsp:cNvPr id="0" name=""/>
        <dsp:cNvSpPr/>
      </dsp:nvSpPr>
      <dsp:spPr>
        <a:xfrm>
          <a:off x="2121745" y="2335249"/>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2335249"/>
        <a:ext cx="6038813" cy="255082"/>
      </dsp:txXfrm>
    </dsp:sp>
    <dsp:sp modelId="{476E3AE9-6DA8-46AF-9B7A-8D54AE19B71D}">
      <dsp:nvSpPr>
        <dsp:cNvPr id="0" name=""/>
        <dsp:cNvSpPr/>
      </dsp:nvSpPr>
      <dsp:spPr>
        <a:xfrm>
          <a:off x="0" y="2335249"/>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Service</a:t>
          </a:r>
        </a:p>
      </dsp:txBody>
      <dsp:txXfrm>
        <a:off x="12454" y="2347703"/>
        <a:ext cx="2096837" cy="242628"/>
      </dsp:txXfrm>
    </dsp:sp>
    <dsp:sp modelId="{7766C3E4-7CD4-4871-99F1-58E33122CBB5}">
      <dsp:nvSpPr>
        <dsp:cNvPr id="0" name=""/>
        <dsp:cNvSpPr/>
      </dsp:nvSpPr>
      <dsp:spPr>
        <a:xfrm>
          <a:off x="0" y="2590332"/>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None/>
          </a:pPr>
          <a:r>
            <a:rPr lang="en-US" sz="900" kern="1200" dirty="0">
              <a:solidFill>
                <a:schemeClr val="tx2"/>
              </a:solidFill>
            </a:rPr>
            <a:t>A Kubernetes Service is an abstraction that exposes a group of Pods and provides a stable network endpoint for communication. Since Pods are restart and can be replaced, a Service ensures consistent access to them.</a:t>
          </a:r>
          <a:endParaRPr lang="en-IN" sz="900" kern="1200" dirty="0">
            <a:solidFill>
              <a:schemeClr val="tx2"/>
            </a:solidFill>
          </a:endParaRPr>
        </a:p>
      </dsp:txBody>
      <dsp:txXfrm>
        <a:off x="0" y="2590332"/>
        <a:ext cx="8160559" cy="510242"/>
      </dsp:txXfrm>
    </dsp:sp>
    <dsp:sp modelId="{12363F8C-977D-470C-A868-931A86AEFAD7}">
      <dsp:nvSpPr>
        <dsp:cNvPr id="0" name=""/>
        <dsp:cNvSpPr/>
      </dsp:nvSpPr>
      <dsp:spPr>
        <a:xfrm>
          <a:off x="2121745" y="3113328"/>
          <a:ext cx="6038813" cy="2550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b" anchorCtr="0">
          <a:noAutofit/>
        </a:bodyPr>
        <a:lstStyle/>
        <a:p>
          <a:pPr marL="0" lvl="0" indent="0" algn="l" defTabSz="533400">
            <a:lnSpc>
              <a:spcPct val="90000"/>
            </a:lnSpc>
            <a:spcBef>
              <a:spcPct val="0"/>
            </a:spcBef>
            <a:spcAft>
              <a:spcPct val="35000"/>
            </a:spcAft>
            <a:buNone/>
          </a:pPr>
          <a:endParaRPr lang="en-IN" sz="1200" kern="1200" dirty="0"/>
        </a:p>
      </dsp:txBody>
      <dsp:txXfrm>
        <a:off x="2121745" y="3113328"/>
        <a:ext cx="6038813" cy="255082"/>
      </dsp:txXfrm>
    </dsp:sp>
    <dsp:sp modelId="{D544AD11-C671-40DD-8885-93A7E81621A8}">
      <dsp:nvSpPr>
        <dsp:cNvPr id="0" name=""/>
        <dsp:cNvSpPr/>
      </dsp:nvSpPr>
      <dsp:spPr>
        <a:xfrm>
          <a:off x="0" y="3113328"/>
          <a:ext cx="2121745" cy="255082"/>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IN" sz="1200" kern="1200" dirty="0"/>
            <a:t>Ingress</a:t>
          </a:r>
        </a:p>
      </dsp:txBody>
      <dsp:txXfrm>
        <a:off x="12454" y="3125782"/>
        <a:ext cx="2096837" cy="242628"/>
      </dsp:txXfrm>
    </dsp:sp>
    <dsp:sp modelId="{83D5A534-EB35-4E74-8F7D-F0C323A6741D}">
      <dsp:nvSpPr>
        <dsp:cNvPr id="0" name=""/>
        <dsp:cNvSpPr/>
      </dsp:nvSpPr>
      <dsp:spPr>
        <a:xfrm>
          <a:off x="0" y="3368411"/>
          <a:ext cx="8160559" cy="5102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400050">
            <a:lnSpc>
              <a:spcPct val="90000"/>
            </a:lnSpc>
            <a:spcBef>
              <a:spcPct val="0"/>
            </a:spcBef>
            <a:spcAft>
              <a:spcPct val="15000"/>
            </a:spcAft>
            <a:buNone/>
          </a:pPr>
          <a:r>
            <a:rPr lang="en-US" sz="900" kern="1200" dirty="0">
              <a:solidFill>
                <a:schemeClr val="tx2"/>
              </a:solidFill>
            </a:rPr>
            <a:t>Ingress is a Kubernetes API object that manages external access to services inside a cluster, typically using HTTP(S). It acts as a reverse proxy and load balancer, allowing users to define rules for routing external traffic to internal services.</a:t>
          </a:r>
          <a:endParaRPr lang="en-IN" sz="900" kern="1200" dirty="0">
            <a:solidFill>
              <a:schemeClr val="tx2"/>
            </a:solidFill>
          </a:endParaRPr>
        </a:p>
      </dsp:txBody>
      <dsp:txXfrm>
        <a:off x="0" y="3368411"/>
        <a:ext cx="8160559" cy="51024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98A2D8-ACF1-44EE-9E0F-9C45D73565D6}">
      <dsp:nvSpPr>
        <dsp:cNvPr id="0" name=""/>
        <dsp:cNvSpPr/>
      </dsp:nvSpPr>
      <dsp:spPr>
        <a:xfrm>
          <a:off x="0" y="3240542"/>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484DF9-1364-477E-8299-9A5397453C46}">
      <dsp:nvSpPr>
        <dsp:cNvPr id="0" name=""/>
        <dsp:cNvSpPr/>
      </dsp:nvSpPr>
      <dsp:spPr>
        <a:xfrm>
          <a:off x="0" y="2266981"/>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AD71F0-8990-4EC4-99B6-D916E386FD63}">
      <dsp:nvSpPr>
        <dsp:cNvPr id="0" name=""/>
        <dsp:cNvSpPr/>
      </dsp:nvSpPr>
      <dsp:spPr>
        <a:xfrm>
          <a:off x="0" y="1293419"/>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B3F0F8-69D5-4CC8-8914-9F227F7B5115}">
      <dsp:nvSpPr>
        <dsp:cNvPr id="0" name=""/>
        <dsp:cNvSpPr/>
      </dsp:nvSpPr>
      <dsp:spPr>
        <a:xfrm>
          <a:off x="0" y="319858"/>
          <a:ext cx="8160559"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9614BB7-D6C7-4435-B437-18E154CB3859}">
      <dsp:nvSpPr>
        <dsp:cNvPr id="0" name=""/>
        <dsp:cNvSpPr/>
      </dsp:nvSpPr>
      <dsp:spPr>
        <a:xfrm>
          <a:off x="2121745" y="689"/>
          <a:ext cx="6038813" cy="319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b" anchorCtr="0">
          <a:noAutofit/>
        </a:bodyPr>
        <a:lstStyle/>
        <a:p>
          <a:pPr marL="0" lvl="0" indent="0" algn="l" defTabSz="488950">
            <a:lnSpc>
              <a:spcPct val="90000"/>
            </a:lnSpc>
            <a:spcBef>
              <a:spcPct val="0"/>
            </a:spcBef>
            <a:spcAft>
              <a:spcPct val="35000"/>
            </a:spcAft>
            <a:buNone/>
          </a:pPr>
          <a:endParaRPr lang="en-IN" sz="1100" kern="1200" dirty="0"/>
        </a:p>
      </dsp:txBody>
      <dsp:txXfrm>
        <a:off x="2121745" y="689"/>
        <a:ext cx="6038813" cy="319169"/>
      </dsp:txXfrm>
    </dsp:sp>
    <dsp:sp modelId="{9C50BCFC-D54F-4BA2-9552-7F0FE6B4C80D}">
      <dsp:nvSpPr>
        <dsp:cNvPr id="0" name=""/>
        <dsp:cNvSpPr/>
      </dsp:nvSpPr>
      <dsp:spPr>
        <a:xfrm>
          <a:off x="0" y="689"/>
          <a:ext cx="2121745" cy="319169"/>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IN" sz="1100" kern="1200" dirty="0"/>
            <a:t>Persistent</a:t>
          </a:r>
          <a:r>
            <a:rPr lang="en-IN" sz="1100" kern="1200" baseline="0" dirty="0"/>
            <a:t> volume</a:t>
          </a:r>
          <a:endParaRPr lang="en-IN" sz="1100" kern="1200" dirty="0"/>
        </a:p>
      </dsp:txBody>
      <dsp:txXfrm>
        <a:off x="15583" y="16272"/>
        <a:ext cx="2090579" cy="303586"/>
      </dsp:txXfrm>
    </dsp:sp>
    <dsp:sp modelId="{8102EF08-2D89-410F-9777-5630572C5832}">
      <dsp:nvSpPr>
        <dsp:cNvPr id="0" name=""/>
        <dsp:cNvSpPr/>
      </dsp:nvSpPr>
      <dsp:spPr>
        <a:xfrm>
          <a:off x="0" y="319858"/>
          <a:ext cx="8160559" cy="6384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marL="57150" lvl="1" indent="-57150" algn="l" defTabSz="400050">
            <a:lnSpc>
              <a:spcPct val="90000"/>
            </a:lnSpc>
            <a:spcBef>
              <a:spcPct val="0"/>
            </a:spcBef>
            <a:spcAft>
              <a:spcPct val="15000"/>
            </a:spcAft>
            <a:buFontTx/>
            <a:buNone/>
          </a:pPr>
          <a:r>
            <a:rPr lang="en-IN" sz="900" kern="1200" dirty="0">
              <a:solidFill>
                <a:schemeClr val="tx2"/>
              </a:solidFill>
            </a:rPr>
            <a:t>A Persistent Volume (PV) is a storage abstraction in Kubernetes that provides persistent, cluster-wide storage for Pods. Unlike regular container storage (which is temporary), PVs retain data even if Pods restart or get deleted.</a:t>
          </a:r>
        </a:p>
      </dsp:txBody>
      <dsp:txXfrm>
        <a:off x="0" y="319858"/>
        <a:ext cx="8160559" cy="638433"/>
      </dsp:txXfrm>
    </dsp:sp>
    <dsp:sp modelId="{CF61EFEB-DCC9-4211-BF27-6C17205E86C1}">
      <dsp:nvSpPr>
        <dsp:cNvPr id="0" name=""/>
        <dsp:cNvSpPr/>
      </dsp:nvSpPr>
      <dsp:spPr>
        <a:xfrm>
          <a:off x="2121745" y="974250"/>
          <a:ext cx="6038813" cy="319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b" anchorCtr="0">
          <a:noAutofit/>
        </a:bodyPr>
        <a:lstStyle/>
        <a:p>
          <a:pPr marL="0" lvl="0" indent="0" algn="l" defTabSz="488950">
            <a:lnSpc>
              <a:spcPct val="90000"/>
            </a:lnSpc>
            <a:spcBef>
              <a:spcPct val="0"/>
            </a:spcBef>
            <a:spcAft>
              <a:spcPct val="35000"/>
            </a:spcAft>
            <a:buNone/>
          </a:pPr>
          <a:endParaRPr lang="en-IN" sz="1100" kern="1200" dirty="0"/>
        </a:p>
      </dsp:txBody>
      <dsp:txXfrm>
        <a:off x="2121745" y="974250"/>
        <a:ext cx="6038813" cy="319169"/>
      </dsp:txXfrm>
    </dsp:sp>
    <dsp:sp modelId="{476383A8-643B-42C9-8981-564251140A05}">
      <dsp:nvSpPr>
        <dsp:cNvPr id="0" name=""/>
        <dsp:cNvSpPr/>
      </dsp:nvSpPr>
      <dsp:spPr>
        <a:xfrm>
          <a:off x="0" y="974250"/>
          <a:ext cx="2121745" cy="319169"/>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IN" sz="1100" kern="1200" dirty="0"/>
            <a:t>Horizontal</a:t>
          </a:r>
          <a:r>
            <a:rPr lang="en-IN" sz="1100" kern="1200" baseline="0" dirty="0"/>
            <a:t> Pod </a:t>
          </a:r>
          <a:r>
            <a:rPr lang="en-IN" sz="1100" kern="1200" baseline="0" dirty="0" err="1"/>
            <a:t>Autoscaler</a:t>
          </a:r>
          <a:r>
            <a:rPr lang="en-IN" sz="1100" kern="1200" baseline="0" dirty="0"/>
            <a:t> (HPA)</a:t>
          </a:r>
          <a:endParaRPr lang="en-IN" sz="1100" kern="1200" dirty="0"/>
        </a:p>
      </dsp:txBody>
      <dsp:txXfrm>
        <a:off x="15583" y="989833"/>
        <a:ext cx="2090579" cy="303586"/>
      </dsp:txXfrm>
    </dsp:sp>
    <dsp:sp modelId="{7195114F-D131-4C84-8B92-B164332B3FAA}">
      <dsp:nvSpPr>
        <dsp:cNvPr id="0" name=""/>
        <dsp:cNvSpPr/>
      </dsp:nvSpPr>
      <dsp:spPr>
        <a:xfrm>
          <a:off x="0" y="1293419"/>
          <a:ext cx="8160559" cy="6384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marL="57150" lvl="1" indent="-57150" algn="l" defTabSz="400050">
            <a:lnSpc>
              <a:spcPct val="90000"/>
            </a:lnSpc>
            <a:spcBef>
              <a:spcPct val="0"/>
            </a:spcBef>
            <a:spcAft>
              <a:spcPct val="15000"/>
            </a:spcAft>
            <a:buNone/>
          </a:pPr>
          <a:r>
            <a:rPr lang="en-US" sz="900" kern="1200" dirty="0">
              <a:solidFill>
                <a:schemeClr val="tx2"/>
              </a:solidFill>
            </a:rPr>
            <a:t>Horizontal Pod Autoscaler (HPA) is a Kubernetes feature that automatically scales the number of Pod replicas in a Deployment, </a:t>
          </a:r>
          <a:r>
            <a:rPr lang="en-US" sz="900" kern="1200" dirty="0" err="1">
              <a:solidFill>
                <a:schemeClr val="tx2"/>
              </a:solidFill>
            </a:rPr>
            <a:t>StatefulSet</a:t>
          </a:r>
          <a:r>
            <a:rPr lang="en-US" sz="900" kern="1200" dirty="0">
              <a:solidFill>
                <a:schemeClr val="tx2"/>
              </a:solidFill>
            </a:rPr>
            <a:t>, or </a:t>
          </a:r>
          <a:r>
            <a:rPr lang="en-US" sz="900" kern="1200" dirty="0" err="1">
              <a:solidFill>
                <a:schemeClr val="tx2"/>
              </a:solidFill>
            </a:rPr>
            <a:t>ReplicaSet</a:t>
          </a:r>
          <a:r>
            <a:rPr lang="en-US" sz="900" kern="1200" dirty="0">
              <a:solidFill>
                <a:schemeClr val="tx2"/>
              </a:solidFill>
            </a:rPr>
            <a:t> based on CPU, memory, or custom metrics.</a:t>
          </a:r>
          <a:endParaRPr lang="en-IN" sz="900" kern="1200" dirty="0">
            <a:solidFill>
              <a:schemeClr val="tx2"/>
            </a:solidFill>
          </a:endParaRPr>
        </a:p>
      </dsp:txBody>
      <dsp:txXfrm>
        <a:off x="0" y="1293419"/>
        <a:ext cx="8160559" cy="638433"/>
      </dsp:txXfrm>
    </dsp:sp>
    <dsp:sp modelId="{4DE09FB2-9492-4AE6-836C-CC8EB459781A}">
      <dsp:nvSpPr>
        <dsp:cNvPr id="0" name=""/>
        <dsp:cNvSpPr/>
      </dsp:nvSpPr>
      <dsp:spPr>
        <a:xfrm>
          <a:off x="2121745" y="1947812"/>
          <a:ext cx="6038813" cy="319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b" anchorCtr="0">
          <a:noAutofit/>
        </a:bodyPr>
        <a:lstStyle/>
        <a:p>
          <a:pPr marL="0" lvl="0" indent="0" algn="l" defTabSz="488950">
            <a:lnSpc>
              <a:spcPct val="90000"/>
            </a:lnSpc>
            <a:spcBef>
              <a:spcPct val="0"/>
            </a:spcBef>
            <a:spcAft>
              <a:spcPct val="35000"/>
            </a:spcAft>
            <a:buNone/>
          </a:pPr>
          <a:endParaRPr lang="en-IN" sz="1100" kern="1200" dirty="0"/>
        </a:p>
      </dsp:txBody>
      <dsp:txXfrm>
        <a:off x="2121745" y="1947812"/>
        <a:ext cx="6038813" cy="319169"/>
      </dsp:txXfrm>
    </dsp:sp>
    <dsp:sp modelId="{F1107D10-0233-48CF-91E7-E922D72F80A5}">
      <dsp:nvSpPr>
        <dsp:cNvPr id="0" name=""/>
        <dsp:cNvSpPr/>
      </dsp:nvSpPr>
      <dsp:spPr>
        <a:xfrm>
          <a:off x="0" y="1947812"/>
          <a:ext cx="2121745" cy="319169"/>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IN" sz="1100" kern="1200" dirty="0"/>
            <a:t>Cluster Auto Scaler</a:t>
          </a:r>
        </a:p>
      </dsp:txBody>
      <dsp:txXfrm>
        <a:off x="15583" y="1963395"/>
        <a:ext cx="2090579" cy="303586"/>
      </dsp:txXfrm>
    </dsp:sp>
    <dsp:sp modelId="{ED2BE4A4-5982-459E-ADB7-A9908D561E72}">
      <dsp:nvSpPr>
        <dsp:cNvPr id="0" name=""/>
        <dsp:cNvSpPr/>
      </dsp:nvSpPr>
      <dsp:spPr>
        <a:xfrm>
          <a:off x="0" y="2266981"/>
          <a:ext cx="8160559" cy="6384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marL="57150" lvl="1" indent="-57150" algn="l" defTabSz="400050">
            <a:lnSpc>
              <a:spcPct val="90000"/>
            </a:lnSpc>
            <a:spcBef>
              <a:spcPct val="0"/>
            </a:spcBef>
            <a:spcAft>
              <a:spcPct val="15000"/>
            </a:spcAft>
            <a:buFont typeface="Arial" panose="020B0604020202020204" pitchFamily="34" charset="0"/>
            <a:buNone/>
          </a:pPr>
          <a:r>
            <a:rPr lang="en-US" sz="900" kern="1200" dirty="0">
              <a:solidFill>
                <a:schemeClr val="tx2"/>
              </a:solidFill>
            </a:rPr>
            <a:t>Cluster Autoscaler (CA) is a Kubernetes component that automatically scales the number of worker nodes in a cluster based on workload demands. It ensures that, New nodes are added when Pods can’t be scheduled due to insufficient resources and Idle nodes are removed when they are no longer needed.</a:t>
          </a:r>
          <a:endParaRPr lang="en-IN" sz="900" kern="1200" dirty="0">
            <a:solidFill>
              <a:schemeClr val="tx2"/>
            </a:solidFill>
          </a:endParaRPr>
        </a:p>
      </dsp:txBody>
      <dsp:txXfrm>
        <a:off x="0" y="2266981"/>
        <a:ext cx="8160559" cy="638433"/>
      </dsp:txXfrm>
    </dsp:sp>
    <dsp:sp modelId="{D82ACAAE-9A09-428F-A11E-3F3EEFAEC9D5}">
      <dsp:nvSpPr>
        <dsp:cNvPr id="0" name=""/>
        <dsp:cNvSpPr/>
      </dsp:nvSpPr>
      <dsp:spPr>
        <a:xfrm>
          <a:off x="2121745" y="2921373"/>
          <a:ext cx="6038813" cy="319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b" anchorCtr="0">
          <a:noAutofit/>
        </a:bodyPr>
        <a:lstStyle/>
        <a:p>
          <a:pPr marL="0" lvl="0" indent="0" algn="l" defTabSz="488950">
            <a:lnSpc>
              <a:spcPct val="90000"/>
            </a:lnSpc>
            <a:spcBef>
              <a:spcPct val="0"/>
            </a:spcBef>
            <a:spcAft>
              <a:spcPct val="35000"/>
            </a:spcAft>
            <a:buNone/>
          </a:pPr>
          <a:endParaRPr lang="en-IN" sz="1100" kern="1200" dirty="0"/>
        </a:p>
      </dsp:txBody>
      <dsp:txXfrm>
        <a:off x="2121745" y="2921373"/>
        <a:ext cx="6038813" cy="319169"/>
      </dsp:txXfrm>
    </dsp:sp>
    <dsp:sp modelId="{476E3AE9-6DA8-46AF-9B7A-8D54AE19B71D}">
      <dsp:nvSpPr>
        <dsp:cNvPr id="0" name=""/>
        <dsp:cNvSpPr/>
      </dsp:nvSpPr>
      <dsp:spPr>
        <a:xfrm>
          <a:off x="0" y="2921373"/>
          <a:ext cx="2121745" cy="319169"/>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IN" sz="1100" kern="1200" dirty="0"/>
            <a:t>Service Account</a:t>
          </a:r>
        </a:p>
      </dsp:txBody>
      <dsp:txXfrm>
        <a:off x="15583" y="2936956"/>
        <a:ext cx="2090579" cy="303586"/>
      </dsp:txXfrm>
    </dsp:sp>
    <dsp:sp modelId="{7766C3E4-7CD4-4871-99F1-58E33122CBB5}">
      <dsp:nvSpPr>
        <dsp:cNvPr id="0" name=""/>
        <dsp:cNvSpPr/>
      </dsp:nvSpPr>
      <dsp:spPr>
        <a:xfrm>
          <a:off x="0" y="3240542"/>
          <a:ext cx="8160559" cy="6384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marL="57150" lvl="1" indent="-57150" algn="l" defTabSz="400050">
            <a:lnSpc>
              <a:spcPct val="90000"/>
            </a:lnSpc>
            <a:spcBef>
              <a:spcPct val="0"/>
            </a:spcBef>
            <a:spcAft>
              <a:spcPct val="15000"/>
            </a:spcAft>
            <a:buNone/>
          </a:pPr>
          <a:r>
            <a:rPr lang="en-US" sz="900" kern="1200" dirty="0">
              <a:solidFill>
                <a:schemeClr val="tx2"/>
              </a:solidFill>
            </a:rPr>
            <a:t>A Service Account in Kubernetes is an identity used by Pods to interact with the Kubernetes API. It grants permissions to Pods for accessing resources, such as secrets, </a:t>
          </a:r>
          <a:r>
            <a:rPr lang="en-US" sz="900" kern="1200" dirty="0" err="1">
              <a:solidFill>
                <a:schemeClr val="tx2"/>
              </a:solidFill>
            </a:rPr>
            <a:t>ConfigMaps</a:t>
          </a:r>
          <a:r>
            <a:rPr lang="en-US" sz="900" kern="1200" dirty="0">
              <a:solidFill>
                <a:schemeClr val="tx2"/>
              </a:solidFill>
            </a:rPr>
            <a:t>, or other Kubernetes objects.</a:t>
          </a:r>
          <a:endParaRPr lang="en-IN" sz="900" kern="1200" dirty="0">
            <a:solidFill>
              <a:schemeClr val="tx2"/>
            </a:solidFill>
          </a:endParaRPr>
        </a:p>
      </dsp:txBody>
      <dsp:txXfrm>
        <a:off x="0" y="3240542"/>
        <a:ext cx="8160559" cy="638433"/>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3831C-DEBA-4A3A-8C36-FD8115E217DA}" type="datetimeFigureOut">
              <a:rPr lang="en-US" smtClean="0"/>
              <a:t>3/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D4EF5B-ECC8-43EE-A509-D601DDF42AD0}" type="slidenum">
              <a:rPr lang="en-US" smtClean="0"/>
              <a:t>‹#›</a:t>
            </a:fld>
            <a:endParaRPr lang="en-US"/>
          </a:p>
        </p:txBody>
      </p:sp>
    </p:spTree>
    <p:extLst>
      <p:ext uri="{BB962C8B-B14F-4D97-AF65-F5344CB8AC3E}">
        <p14:creationId xmlns:p14="http://schemas.microsoft.com/office/powerpoint/2010/main" val="211518043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8D4EF5B-ECC8-43EE-A509-D601DDF42AD0}" type="slidenum">
              <a:rPr lang="en-US" smtClean="0"/>
              <a:t>3</a:t>
            </a:fld>
            <a:endParaRPr lang="en-US"/>
          </a:p>
        </p:txBody>
      </p:sp>
    </p:spTree>
    <p:extLst>
      <p:ext uri="{BB962C8B-B14F-4D97-AF65-F5344CB8AC3E}">
        <p14:creationId xmlns:p14="http://schemas.microsoft.com/office/powerpoint/2010/main" val="3392827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9.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9.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18.png"/><Relationship Id="rId4" Type="http://schemas.openxmlformats.org/officeDocument/2006/relationships/image" Target="../media/image9.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2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8.jpeg"/><Relationship Id="rId1" Type="http://schemas.openxmlformats.org/officeDocument/2006/relationships/slideMaster" Target="../slideMasters/slideMaster1.xml"/><Relationship Id="rId5" Type="http://schemas.openxmlformats.org/officeDocument/2006/relationships/image" Target="../media/image29.png"/><Relationship Id="rId4" Type="http://schemas.openxmlformats.org/officeDocument/2006/relationships/image" Target="../media/image24.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1.png"/><Relationship Id="rId4" Type="http://schemas.openxmlformats.org/officeDocument/2006/relationships/image" Target="../media/image24.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32.png"/><Relationship Id="rId4" Type="http://schemas.openxmlformats.org/officeDocument/2006/relationships/image" Target="../media/image24.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33.png"/><Relationship Id="rId4" Type="http://schemas.openxmlformats.org/officeDocument/2006/relationships/image" Target="../media/image24.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3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6.jpeg"/><Relationship Id="rId1" Type="http://schemas.openxmlformats.org/officeDocument/2006/relationships/slideMaster" Target="../slideMasters/slideMaster1.xml"/><Relationship Id="rId5" Type="http://schemas.openxmlformats.org/officeDocument/2006/relationships/image" Target="../media/image37.png"/><Relationship Id="rId4" Type="http://schemas.openxmlformats.org/officeDocument/2006/relationships/image" Target="../media/image2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38.png"/><Relationship Id="rId4" Type="http://schemas.openxmlformats.org/officeDocument/2006/relationships/image" Target="../media/image24.sv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1.xml"/><Relationship Id="rId4" Type="http://schemas.openxmlformats.org/officeDocument/2006/relationships/image" Target="../media/image44.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5.jpeg"/><Relationship Id="rId1" Type="http://schemas.openxmlformats.org/officeDocument/2006/relationships/slideMaster" Target="../slideMasters/slideMaster1.xml"/><Relationship Id="rId4" Type="http://schemas.openxmlformats.org/officeDocument/2006/relationships/image" Target="../media/image44.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4.sv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9.jpeg"/><Relationship Id="rId1" Type="http://schemas.openxmlformats.org/officeDocument/2006/relationships/slideMaster" Target="../slideMasters/slideMaster1.xml"/><Relationship Id="rId5" Type="http://schemas.openxmlformats.org/officeDocument/2006/relationships/image" Target="../media/image50.png"/><Relationship Id="rId4" Type="http://schemas.openxmlformats.org/officeDocument/2006/relationships/image" Target="../media/image44.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1.xml"/><Relationship Id="rId5" Type="http://schemas.openxmlformats.org/officeDocument/2006/relationships/image" Target="../media/image51.png"/><Relationship Id="rId4" Type="http://schemas.openxmlformats.org/officeDocument/2006/relationships/image" Target="../media/image44.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2.jpeg"/><Relationship Id="rId1" Type="http://schemas.openxmlformats.org/officeDocument/2006/relationships/slideMaster" Target="../slideMasters/slideMaster1.xml"/><Relationship Id="rId5" Type="http://schemas.openxmlformats.org/officeDocument/2006/relationships/image" Target="../media/image53.png"/><Relationship Id="rId4" Type="http://schemas.openxmlformats.org/officeDocument/2006/relationships/image" Target="../media/image44.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4.jpeg"/><Relationship Id="rId1" Type="http://schemas.openxmlformats.org/officeDocument/2006/relationships/slideMaster" Target="../slideMasters/slideMaster1.xml"/><Relationship Id="rId5" Type="http://schemas.openxmlformats.org/officeDocument/2006/relationships/image" Target="../media/image55.png"/><Relationship Id="rId4" Type="http://schemas.openxmlformats.org/officeDocument/2006/relationships/image" Target="../media/image4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6.jpeg"/><Relationship Id="rId1" Type="http://schemas.openxmlformats.org/officeDocument/2006/relationships/slideMaster" Target="../slideMasters/slideMaster1.xml"/><Relationship Id="rId5" Type="http://schemas.openxmlformats.org/officeDocument/2006/relationships/image" Target="../media/image57.png"/><Relationship Id="rId4" Type="http://schemas.openxmlformats.org/officeDocument/2006/relationships/image" Target="../media/image44.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58.png"/><Relationship Id="rId4" Type="http://schemas.openxmlformats.org/officeDocument/2006/relationships/image" Target="../media/image4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9.jpeg"/><Relationship Id="rId1" Type="http://schemas.openxmlformats.org/officeDocument/2006/relationships/slideMaster" Target="../slideMasters/slideMaster1.xml"/><Relationship Id="rId5" Type="http://schemas.openxmlformats.org/officeDocument/2006/relationships/image" Target="../media/image60.png"/><Relationship Id="rId4" Type="http://schemas.openxmlformats.org/officeDocument/2006/relationships/image" Target="../media/image44.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1 - Blan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8" name="TextBox 17">
            <a:extLst>
              <a:ext uri="{FF2B5EF4-FFF2-40B4-BE49-F238E27FC236}">
                <a16:creationId xmlns:a16="http://schemas.microsoft.com/office/drawing/2014/main" id="{7D01F7BE-6571-AC40-8930-993DCAC315E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9" name="Slide Number Placeholder 5">
            <a:extLst>
              <a:ext uri="{FF2B5EF4-FFF2-40B4-BE49-F238E27FC236}">
                <a16:creationId xmlns:a16="http://schemas.microsoft.com/office/drawing/2014/main" id="{E23370C9-C9F1-E64E-B1FF-D29CC9DA426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20" name="Straight Connector 19">
            <a:extLst>
              <a:ext uri="{FF2B5EF4-FFF2-40B4-BE49-F238E27FC236}">
                <a16:creationId xmlns:a16="http://schemas.microsoft.com/office/drawing/2014/main" id="{44977DD1-0266-7D4A-9BE2-95AE7D111ED6}"/>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22" name="Footer Placeholder 2">
            <a:extLst>
              <a:ext uri="{FF2B5EF4-FFF2-40B4-BE49-F238E27FC236}">
                <a16:creationId xmlns:a16="http://schemas.microsoft.com/office/drawing/2014/main" id="{10AF1CAC-C957-7A43-8BDD-0A57EEE5D017}"/>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9587788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9 - Titl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a:t>Click to edit headline</a:t>
            </a:r>
          </a:p>
        </p:txBody>
      </p:sp>
      <p:sp>
        <p:nvSpPr>
          <p:cNvPr id="3" name="Text Placeholder 42">
            <a:extLst>
              <a:ext uri="{FF2B5EF4-FFF2-40B4-BE49-F238E27FC236}">
                <a16:creationId xmlns:a16="http://schemas.microsoft.com/office/drawing/2014/main" id="{31386DAF-78F1-64A8-A51B-3B6BA0A20C91}"/>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accent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
        <p:nvSpPr>
          <p:cNvPr id="10" name="TextBox 9">
            <a:extLst>
              <a:ext uri="{FF2B5EF4-FFF2-40B4-BE49-F238E27FC236}">
                <a16:creationId xmlns:a16="http://schemas.microsoft.com/office/drawing/2014/main" id="{0700CA15-B35A-6045-B8ED-AC55BAD2734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1" name="Slide Number Placeholder 5">
            <a:extLst>
              <a:ext uri="{FF2B5EF4-FFF2-40B4-BE49-F238E27FC236}">
                <a16:creationId xmlns:a16="http://schemas.microsoft.com/office/drawing/2014/main" id="{92C7615B-D61F-B041-98E6-5C1451EF18C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sp>
        <p:nvSpPr>
          <p:cNvPr id="16" name="Footer Placeholder 2">
            <a:extLst>
              <a:ext uri="{FF2B5EF4-FFF2-40B4-BE49-F238E27FC236}">
                <a16:creationId xmlns:a16="http://schemas.microsoft.com/office/drawing/2014/main" id="{16D1E5F0-48B2-9746-BD5C-57BD1B0FCF9F}"/>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499022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1 - Bullet 1/2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2"/>
          </a:solidFill>
        </p:spPr>
        <p:txBody>
          <a:bodyPr/>
          <a:lstStyle>
            <a:lvl1pPr marL="0" indent="0">
              <a:buNone/>
              <a:defRPr sz="1000">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15E1932A-6253-9140-9B62-2771A7053B4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2" name="Slide Number Placeholder 5">
            <a:extLst>
              <a:ext uri="{FF2B5EF4-FFF2-40B4-BE49-F238E27FC236}">
                <a16:creationId xmlns:a16="http://schemas.microsoft.com/office/drawing/2014/main" id="{E9F830E4-5078-E140-89F7-805C4A8DFF5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34CF6AA3-231C-F246-B3F9-6DC453E42535}"/>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5" name="Footer Placeholder 2">
            <a:extLst>
              <a:ext uri="{FF2B5EF4-FFF2-40B4-BE49-F238E27FC236}">
                <a16:creationId xmlns:a16="http://schemas.microsoft.com/office/drawing/2014/main" id="{80CFFC3C-7F19-384A-B03B-16064024090B}"/>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3812813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1.2.1 - Bullet 1/2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5752089"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5752089"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6381027" y="0"/>
            <a:ext cx="2762974" cy="5143500"/>
          </a:xfrm>
          <a:prstGeom prst="rect">
            <a:avLst/>
          </a:prstGeom>
          <a:solidFill>
            <a:schemeClr val="tx2"/>
          </a:solidFill>
        </p:spPr>
        <p:txBody>
          <a:bodyPr/>
          <a:lstStyle>
            <a:lvl1pPr marL="0" indent="0">
              <a:buNone/>
              <a:defRPr sz="1000">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5752089"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A2AC11E1-DC9E-6F42-85C7-A06C94E8F4E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2" name="Slide Number Placeholder 5">
            <a:extLst>
              <a:ext uri="{FF2B5EF4-FFF2-40B4-BE49-F238E27FC236}">
                <a16:creationId xmlns:a16="http://schemas.microsoft.com/office/drawing/2014/main" id="{184F7B88-4004-F04A-BC87-AE331F1884C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20DFFCAF-ACD5-BA42-A8DE-E23CABEFB4A3}"/>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40151303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2.1 - Bullet 1/2 imag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2"/>
          </a:solidFill>
        </p:spPr>
        <p:txBody>
          <a:bodyPr/>
          <a:lstStyle>
            <a:lvl1pPr marL="0" indent="0">
              <a:buNone/>
              <a:defRPr sz="1000">
                <a:solidFill>
                  <a:schemeClr val="bg1"/>
                </a:solidFill>
              </a:defRPr>
            </a:lvl1pPr>
          </a:lstStyle>
          <a:p>
            <a:r>
              <a:rPr lang="en-US"/>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5D799CB3-84CA-6742-84DF-72007318068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16" name="Slide Number Placeholder 5">
            <a:extLst>
              <a:ext uri="{FF2B5EF4-FFF2-40B4-BE49-F238E27FC236}">
                <a16:creationId xmlns:a16="http://schemas.microsoft.com/office/drawing/2014/main" id="{6A5210C9-A8C9-E34A-AF08-D95769142A3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8615814F-156A-384E-AF97-ED4B5106F40D}"/>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23" name="Footer Placeholder 2">
            <a:extLst>
              <a:ext uri="{FF2B5EF4-FFF2-40B4-BE49-F238E27FC236}">
                <a16:creationId xmlns:a16="http://schemas.microsoft.com/office/drawing/2014/main" id="{CD421F5C-0DFE-334C-A81E-D951A9F639C1}"/>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1460149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2 - Bullet 2/3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2"/>
          </a:solidFill>
        </p:spPr>
        <p:txBody>
          <a:bodyPr/>
          <a:lstStyle>
            <a:lvl1pPr marL="0" indent="0">
              <a:buNone/>
              <a:defRPr sz="1000">
                <a:solidFill>
                  <a:schemeClr val="bg1"/>
                </a:solidFill>
              </a:defRPr>
            </a:lvl1pPr>
          </a:lstStyle>
          <a:p>
            <a:r>
              <a:rPr lang="en-US"/>
              <a:t>Click to add picture</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9A34AEB3-E972-B24B-BF10-483374277DF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FC4B66D6-47CA-384F-BC8B-7AE8273B672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72924026-6A5B-3045-A96F-72B38B1498AD}"/>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9" name="Footer Placeholder 2">
            <a:extLst>
              <a:ext uri="{FF2B5EF4-FFF2-40B4-BE49-F238E27FC236}">
                <a16:creationId xmlns:a16="http://schemas.microsoft.com/office/drawing/2014/main" id="{1055B357-F2DA-4843-B8F3-96B4DBAF7FD4}"/>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21590158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3 - Bullet 1/2 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4572000" y="0"/>
            <a:ext cx="4571999"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D37370FF-CF3E-074B-89FC-906BF912ABE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4CC93C35-712A-7F4D-9E0B-5A54466F2BE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43929C60-9191-B34A-AE85-5729C15843C4}"/>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7" name="Footer Placeholder 2">
            <a:extLst>
              <a:ext uri="{FF2B5EF4-FFF2-40B4-BE49-F238E27FC236}">
                <a16:creationId xmlns:a16="http://schemas.microsoft.com/office/drawing/2014/main" id="{F4AF275A-CD10-594B-98BF-45A64403FB30}"/>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42255367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1.2.3 - Bullet 1/2 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6057255" y="0"/>
            <a:ext cx="3086744" cy="51435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5413785"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5413785"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541378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BD8FE82E-05E6-7841-A8BD-2687CC854A2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36A733CE-ACBD-CB48-BB57-1FED3F54284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AFEC0D4B-F076-BE41-9F75-444A199DFC47}"/>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7" name="Footer Placeholder 2">
            <a:extLst>
              <a:ext uri="{FF2B5EF4-FFF2-40B4-BE49-F238E27FC236}">
                <a16:creationId xmlns:a16="http://schemas.microsoft.com/office/drawing/2014/main" id="{5A8843DB-2C6A-F94D-B42E-65691D446812}"/>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669920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2.3 - Bullet 1/2 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6815627" y="0"/>
            <a:ext cx="2328371" cy="51435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5413785"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5413785"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11" name="TextBox 10">
            <a:extLst>
              <a:ext uri="{FF2B5EF4-FFF2-40B4-BE49-F238E27FC236}">
                <a16:creationId xmlns:a16="http://schemas.microsoft.com/office/drawing/2014/main" id="{BD8FE82E-05E6-7841-A8BD-2687CC854A2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36A733CE-ACBD-CB48-BB57-1FED3F54284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AFEC0D4B-F076-BE41-9F75-444A199DFC47}"/>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7" name="Footer Placeholder 2">
            <a:extLst>
              <a:ext uri="{FF2B5EF4-FFF2-40B4-BE49-F238E27FC236}">
                <a16:creationId xmlns:a16="http://schemas.microsoft.com/office/drawing/2014/main" id="{5A8843DB-2C6A-F94D-B42E-65691D446812}"/>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37798642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1.2.3 - Bullet 1/2 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6815627" y="0"/>
            <a:ext cx="2328371" cy="51435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5413785"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5413785"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11" name="TextBox 10">
            <a:extLst>
              <a:ext uri="{FF2B5EF4-FFF2-40B4-BE49-F238E27FC236}">
                <a16:creationId xmlns:a16="http://schemas.microsoft.com/office/drawing/2014/main" id="{BD8FE82E-05E6-7841-A8BD-2687CC854A2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36A733CE-ACBD-CB48-BB57-1FED3F54284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AFEC0D4B-F076-BE41-9F75-444A199DFC47}"/>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7" name="Footer Placeholder 2">
            <a:extLst>
              <a:ext uri="{FF2B5EF4-FFF2-40B4-BE49-F238E27FC236}">
                <a16:creationId xmlns:a16="http://schemas.microsoft.com/office/drawing/2014/main" id="{5A8843DB-2C6A-F94D-B42E-65691D446812}"/>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6802340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4 - Bullet 2/3 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3096000" y="0"/>
            <a:ext cx="604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DE9AF43D-70DF-D444-8B1F-DF522B23B92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2" name="Slide Number Placeholder 5">
            <a:extLst>
              <a:ext uri="{FF2B5EF4-FFF2-40B4-BE49-F238E27FC236}">
                <a16:creationId xmlns:a16="http://schemas.microsoft.com/office/drawing/2014/main" id="{ECDC4843-F5FD-C342-AE65-CAE2C52AA6E4}"/>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8474D706-C253-364C-9046-105395C87B9C}"/>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5" name="Footer Placeholder 2">
            <a:extLst>
              <a:ext uri="{FF2B5EF4-FFF2-40B4-BE49-F238E27FC236}">
                <a16:creationId xmlns:a16="http://schemas.microsoft.com/office/drawing/2014/main" id="{2F7A4672-0F9D-FF43-A426-B29EDA58CCEC}"/>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3429839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1.2 -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F4A53573-0BED-3846-8C25-EA165CA2F57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7" name="Slide Number Placeholder 5">
            <a:extLst>
              <a:ext uri="{FF2B5EF4-FFF2-40B4-BE49-F238E27FC236}">
                <a16:creationId xmlns:a16="http://schemas.microsoft.com/office/drawing/2014/main" id="{9398E3EF-91D0-A648-B481-2F8969C921E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8" name="Straight Connector 17">
            <a:extLst>
              <a:ext uri="{FF2B5EF4-FFF2-40B4-BE49-F238E27FC236}">
                <a16:creationId xmlns:a16="http://schemas.microsoft.com/office/drawing/2014/main" id="{4538FB19-2EE8-5B48-AFE6-B7F116ACF857}"/>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21" name="Footer Placeholder 2">
            <a:extLst>
              <a:ext uri="{FF2B5EF4-FFF2-40B4-BE49-F238E27FC236}">
                <a16:creationId xmlns:a16="http://schemas.microsoft.com/office/drawing/2014/main" id="{03DE6C3A-EB4D-F448-A9BF-79CE7F3F4371}"/>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2169206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1 - Blank dark">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7" name="TextBox 6">
            <a:extLst>
              <a:ext uri="{FF2B5EF4-FFF2-40B4-BE49-F238E27FC236}">
                <a16:creationId xmlns:a16="http://schemas.microsoft.com/office/drawing/2014/main" id="{020717C5-D8A4-4641-8BCC-3441C012B2A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8" name="Slide Number Placeholder 5">
            <a:extLst>
              <a:ext uri="{FF2B5EF4-FFF2-40B4-BE49-F238E27FC236}">
                <a16:creationId xmlns:a16="http://schemas.microsoft.com/office/drawing/2014/main" id="{CA881A48-352E-8C47-8EAA-8AE2D1BFA0E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ED47B2AD-D0F3-2D44-A62B-478C8F02EA22}"/>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1" name="Footer Placeholder 2">
            <a:extLst>
              <a:ext uri="{FF2B5EF4-FFF2-40B4-BE49-F238E27FC236}">
                <a16:creationId xmlns:a16="http://schemas.microsoft.com/office/drawing/2014/main" id="{54DD0FE6-9239-9E40-ABD0-A3DA8B50A39B}"/>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25281222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2 - Title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pic>
        <p:nvPicPr>
          <p:cNvPr id="3" name="Graphic 2">
            <a:extLst>
              <a:ext uri="{FF2B5EF4-FFF2-40B4-BE49-F238E27FC236}">
                <a16:creationId xmlns:a16="http://schemas.microsoft.com/office/drawing/2014/main" id="{BC39B26E-924A-E04C-205D-CC553972AED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BE7F5078-D2F5-E943-8835-8A14E6A3B20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10" name="Slide Number Placeholder 5">
            <a:extLst>
              <a:ext uri="{FF2B5EF4-FFF2-40B4-BE49-F238E27FC236}">
                <a16:creationId xmlns:a16="http://schemas.microsoft.com/office/drawing/2014/main" id="{5722CDED-C45A-5C49-8CF7-F5C49EF93E1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sp>
        <p:nvSpPr>
          <p:cNvPr id="13" name="Footer Placeholder 2">
            <a:extLst>
              <a:ext uri="{FF2B5EF4-FFF2-40B4-BE49-F238E27FC236}">
                <a16:creationId xmlns:a16="http://schemas.microsoft.com/office/drawing/2014/main" id="{A4EAF790-6975-094C-8253-753A674561BB}"/>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2646466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3 - Tex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bg1"/>
                </a:solidFill>
              </a:defRPr>
            </a:lvl1pPr>
            <a:lvl2pPr marL="180000" indent="0">
              <a:lnSpc>
                <a:spcPct val="100000"/>
              </a:lnSpc>
              <a:spcBef>
                <a:spcPts val="0"/>
              </a:spcBef>
              <a:spcAft>
                <a:spcPts val="600"/>
              </a:spcAft>
              <a:buSzPct val="70000"/>
              <a:buNone/>
              <a:defRPr sz="1200">
                <a:solidFill>
                  <a:schemeClr val="bg1"/>
                </a:solidFill>
              </a:defRPr>
            </a:lvl2pPr>
            <a:lvl3pPr marL="360000" indent="0">
              <a:lnSpc>
                <a:spcPct val="100000"/>
              </a:lnSpc>
              <a:spcBef>
                <a:spcPts val="0"/>
              </a:spcBef>
              <a:spcAft>
                <a:spcPts val="600"/>
              </a:spcAft>
              <a:buSzPct val="70000"/>
              <a:buNone/>
              <a:defRPr sz="1200">
                <a:solidFill>
                  <a:schemeClr val="bg1"/>
                </a:solidFill>
              </a:defRPr>
            </a:lvl3pPr>
            <a:lvl4pPr marL="540000" indent="0">
              <a:lnSpc>
                <a:spcPct val="100000"/>
              </a:lnSpc>
              <a:spcBef>
                <a:spcPts val="0"/>
              </a:spcBef>
              <a:spcAft>
                <a:spcPts val="600"/>
              </a:spcAft>
              <a:buSzPct val="70000"/>
              <a:buNone/>
              <a:defRPr sz="1200">
                <a:solidFill>
                  <a:schemeClr val="bg1"/>
                </a:solidFill>
              </a:defRPr>
            </a:lvl4pPr>
            <a:lvl5pPr marL="720000" indent="0">
              <a:lnSpc>
                <a:spcPct val="100000"/>
              </a:lnSpc>
              <a:spcBef>
                <a:spcPts val="0"/>
              </a:spcBef>
              <a:spcAft>
                <a:spcPts val="600"/>
              </a:spcAft>
              <a:buSzPct val="70000"/>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FC50F010-1A3E-13CC-A34C-23E50F7D9E3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AE3E6541-A67E-8746-A6EB-9979D8D1E74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11" name="Slide Number Placeholder 5">
            <a:extLst>
              <a:ext uri="{FF2B5EF4-FFF2-40B4-BE49-F238E27FC236}">
                <a16:creationId xmlns:a16="http://schemas.microsoft.com/office/drawing/2014/main" id="{970104BB-6AC2-3E47-A370-877D4D94E06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16B3BA94-A11B-3E44-8482-A2DE95888DF5}"/>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4" name="Footer Placeholder 2">
            <a:extLst>
              <a:ext uri="{FF2B5EF4-FFF2-40B4-BE49-F238E27FC236}">
                <a16:creationId xmlns:a16="http://schemas.microsoft.com/office/drawing/2014/main" id="{29453D4C-17F3-1E46-B0C6-3C468655BB9F}"/>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1592889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4 - 1xBulle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9C4C436A-97D3-3C1B-0C95-441F1DF2F98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53ACFCA9-CCCD-C649-868D-5DC63E01A17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11" name="Slide Number Placeholder 5">
            <a:extLst>
              <a:ext uri="{FF2B5EF4-FFF2-40B4-BE49-F238E27FC236}">
                <a16:creationId xmlns:a16="http://schemas.microsoft.com/office/drawing/2014/main" id="{459B0CDF-78D4-4246-B09F-82813C03E44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EF993EA-53C6-8E4F-B10F-E6A5058ABCCA}"/>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4" name="Footer Placeholder 2">
            <a:extLst>
              <a:ext uri="{FF2B5EF4-FFF2-40B4-BE49-F238E27FC236}">
                <a16:creationId xmlns:a16="http://schemas.microsoft.com/office/drawing/2014/main" id="{B6E42C1E-464B-8540-8C76-B98361B40A48}"/>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8388892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5 - 2xBulle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437E9F8B-5B93-F909-6599-53CAB2225CA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4B6C5BB2-2F45-4F49-A0E9-D4FE9871DDA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12" name="Slide Number Placeholder 5">
            <a:extLst>
              <a:ext uri="{FF2B5EF4-FFF2-40B4-BE49-F238E27FC236}">
                <a16:creationId xmlns:a16="http://schemas.microsoft.com/office/drawing/2014/main" id="{F1A7C901-FD59-444F-B8DF-48F9C4C04994}"/>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9A118D9-AE23-0742-A27B-83A5D30AAF8E}"/>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5" name="Footer Placeholder 2">
            <a:extLst>
              <a:ext uri="{FF2B5EF4-FFF2-40B4-BE49-F238E27FC236}">
                <a16:creationId xmlns:a16="http://schemas.microsoft.com/office/drawing/2014/main" id="{5843E5CB-0140-374A-BDC3-41817FBAB971}"/>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1167600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6 - 3xBulle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14635BF5-054A-3811-41D1-1B20FDF97FB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2" name="TextBox 11">
            <a:extLst>
              <a:ext uri="{FF2B5EF4-FFF2-40B4-BE49-F238E27FC236}">
                <a16:creationId xmlns:a16="http://schemas.microsoft.com/office/drawing/2014/main" id="{2BB6FFDD-7DA9-0948-A4E9-B2A5AA939C9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13" name="Slide Number Placeholder 5">
            <a:extLst>
              <a:ext uri="{FF2B5EF4-FFF2-40B4-BE49-F238E27FC236}">
                <a16:creationId xmlns:a16="http://schemas.microsoft.com/office/drawing/2014/main" id="{FF0CEAED-812F-BA42-B9BC-633E9876FFB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sp>
        <p:nvSpPr>
          <p:cNvPr id="16" name="Footer Placeholder 2">
            <a:extLst>
              <a:ext uri="{FF2B5EF4-FFF2-40B4-BE49-F238E27FC236}">
                <a16:creationId xmlns:a16="http://schemas.microsoft.com/office/drawing/2014/main" id="{740BDA59-E49D-6246-ABC9-33E1025410B1}"/>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13341724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7 - 4xBulle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AD49FC51-3DDE-4079-644A-F3FAEB0DC4A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FF6CE907-014D-A44A-87C2-C3CD4E36D04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5C33093B-8EA8-3E4A-95F7-AC5470681BC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sp>
        <p:nvSpPr>
          <p:cNvPr id="17" name="Footer Placeholder 2">
            <a:extLst>
              <a:ext uri="{FF2B5EF4-FFF2-40B4-BE49-F238E27FC236}">
                <a16:creationId xmlns:a16="http://schemas.microsoft.com/office/drawing/2014/main" id="{F7C3144A-7304-4149-B53A-2CA8A946E94E}"/>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36943127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8 - Numbered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bg1"/>
                </a:solidFill>
              </a:defRPr>
            </a:lvl1pPr>
            <a:lvl2pPr marL="408600" indent="-228600">
              <a:lnSpc>
                <a:spcPct val="100000"/>
              </a:lnSpc>
              <a:spcBef>
                <a:spcPts val="0"/>
              </a:spcBef>
              <a:spcAft>
                <a:spcPts val="600"/>
              </a:spcAft>
              <a:buFont typeface="+mj-lt"/>
              <a:buAutoNum type="arabicPeriod" startAt="2"/>
              <a:defRPr sz="1200">
                <a:solidFill>
                  <a:schemeClr val="bg1"/>
                </a:solidFill>
              </a:defRPr>
            </a:lvl2pPr>
            <a:lvl3pPr marL="588600" indent="-228600">
              <a:lnSpc>
                <a:spcPct val="100000"/>
              </a:lnSpc>
              <a:spcBef>
                <a:spcPts val="0"/>
              </a:spcBef>
              <a:spcAft>
                <a:spcPts val="600"/>
              </a:spcAft>
              <a:buFont typeface="+mj-lt"/>
              <a:buAutoNum type="arabicPeriod" startAt="3"/>
              <a:defRPr sz="1200">
                <a:solidFill>
                  <a:schemeClr val="bg1"/>
                </a:solidFill>
              </a:defRPr>
            </a:lvl3pPr>
            <a:lvl4pPr marL="768600" indent="-228600">
              <a:lnSpc>
                <a:spcPct val="100000"/>
              </a:lnSpc>
              <a:spcBef>
                <a:spcPts val="0"/>
              </a:spcBef>
              <a:spcAft>
                <a:spcPts val="600"/>
              </a:spcAft>
              <a:buFont typeface="+mj-lt"/>
              <a:buAutoNum type="arabicPeriod" startAt="4"/>
              <a:defRPr sz="1200">
                <a:solidFill>
                  <a:schemeClr val="bg1"/>
                </a:solidFill>
              </a:defRPr>
            </a:lvl4pPr>
            <a:lvl5pPr marL="957150" indent="-228600">
              <a:lnSpc>
                <a:spcPct val="100000"/>
              </a:lnSpc>
              <a:spcBef>
                <a:spcPts val="0"/>
              </a:spcBef>
              <a:spcAft>
                <a:spcPts val="600"/>
              </a:spcAft>
              <a:buFont typeface="+mj-lt"/>
              <a:buAutoNum type="arabicPeriod" startAt="5"/>
              <a:defRPr sz="12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a:t>Text here</a:t>
            </a:r>
          </a:p>
        </p:txBody>
      </p:sp>
      <p:pic>
        <p:nvPicPr>
          <p:cNvPr id="2" name="Graphic 1">
            <a:extLst>
              <a:ext uri="{FF2B5EF4-FFF2-40B4-BE49-F238E27FC236}">
                <a16:creationId xmlns:a16="http://schemas.microsoft.com/office/drawing/2014/main" id="{AF7ADEE1-F63C-492E-6243-826D5239E9F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6EE58D94-E227-9F4A-A245-CFA9F5A717F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11" name="Slide Number Placeholder 5">
            <a:extLst>
              <a:ext uri="{FF2B5EF4-FFF2-40B4-BE49-F238E27FC236}">
                <a16:creationId xmlns:a16="http://schemas.microsoft.com/office/drawing/2014/main" id="{922FE714-F30C-024D-8C95-98CFC6025C8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A8CDE0C-6491-384B-A4AA-A54F1B205A8C}"/>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4" name="Footer Placeholder 2">
            <a:extLst>
              <a:ext uri="{FF2B5EF4-FFF2-40B4-BE49-F238E27FC236}">
                <a16:creationId xmlns:a16="http://schemas.microsoft.com/office/drawing/2014/main" id="{94B5FDB3-9340-3E49-B358-4466A0829579}"/>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36115639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9 - Title dark">
    <p:bg>
      <p:bgPr>
        <a:solidFill>
          <a:schemeClr val="tx2"/>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a:t>Click to edit Master text styles</a:t>
            </a:r>
          </a:p>
        </p:txBody>
      </p:sp>
      <p:pic>
        <p:nvPicPr>
          <p:cNvPr id="3" name="Graphic 2">
            <a:extLst>
              <a:ext uri="{FF2B5EF4-FFF2-40B4-BE49-F238E27FC236}">
                <a16:creationId xmlns:a16="http://schemas.microsoft.com/office/drawing/2014/main" id="{8751E31D-7B4F-D8BB-1E48-D88EA581DC1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21" name="Text Placeholder 42">
            <a:extLst>
              <a:ext uri="{FF2B5EF4-FFF2-40B4-BE49-F238E27FC236}">
                <a16:creationId xmlns:a16="http://schemas.microsoft.com/office/drawing/2014/main" id="{B3D3C671-29A5-6951-28E5-A58089FE5D4B}"/>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
        <p:nvSpPr>
          <p:cNvPr id="9" name="TextBox 8">
            <a:extLst>
              <a:ext uri="{FF2B5EF4-FFF2-40B4-BE49-F238E27FC236}">
                <a16:creationId xmlns:a16="http://schemas.microsoft.com/office/drawing/2014/main" id="{7EC4888E-BDA8-5B4D-B498-25B614163D5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chemeClr val="bg1"/>
                </a:solidFill>
                <a:ea typeface="Nokia Pure Text Light" panose="020B0304040602060303" pitchFamily="34" charset="0"/>
                <a:cs typeface="Nokia Pure Text Light" panose="020B0304040602060303" pitchFamily="34" charset="0"/>
              </a:rPr>
              <a:t>© 2024 Nokia</a:t>
            </a:r>
          </a:p>
        </p:txBody>
      </p:sp>
      <p:sp>
        <p:nvSpPr>
          <p:cNvPr id="10" name="Slide Number Placeholder 5">
            <a:extLst>
              <a:ext uri="{FF2B5EF4-FFF2-40B4-BE49-F238E27FC236}">
                <a16:creationId xmlns:a16="http://schemas.microsoft.com/office/drawing/2014/main" id="{FB1ECB61-D639-0442-B69C-610699B78BB2}"/>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bg1"/>
                </a:solidFill>
                <a:ea typeface="Nokia Pure Text Light" panose="020B0304040602060303" pitchFamily="34" charset="0"/>
                <a:cs typeface="Nokia Pure Text Light" panose="020B0304040602060303" pitchFamily="34" charset="0"/>
              </a:rPr>
              <a:pPr>
                <a:defRPr/>
              </a:pPr>
              <a:t>‹#›</a:t>
            </a:fld>
            <a:endParaRPr lang="en-US">
              <a:solidFill>
                <a:schemeClr val="bg1"/>
              </a:solidFill>
              <a:ea typeface="Nokia Pure Text Light" panose="020B0304040602060303" pitchFamily="34" charset="0"/>
              <a:cs typeface="Nokia Pure Text Light" panose="020B0304040602060303" pitchFamily="34" charset="0"/>
            </a:endParaRPr>
          </a:p>
        </p:txBody>
      </p:sp>
      <p:sp>
        <p:nvSpPr>
          <p:cNvPr id="13" name="Footer Placeholder 2">
            <a:extLst>
              <a:ext uri="{FF2B5EF4-FFF2-40B4-BE49-F238E27FC236}">
                <a16:creationId xmlns:a16="http://schemas.microsoft.com/office/drawing/2014/main" id="{B61ED3FF-51F9-3040-A150-3938CD7AD676}"/>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28339201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1 - Cover N BlueGreen1">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2" name="Title 4">
            <a:extLst>
              <a:ext uri="{FF2B5EF4-FFF2-40B4-BE49-F238E27FC236}">
                <a16:creationId xmlns:a16="http://schemas.microsoft.com/office/drawing/2014/main" id="{FCA7DC03-F552-0867-352F-D9703C6058FC}"/>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4" name="Text Placeholder 3">
            <a:extLst>
              <a:ext uri="{FF2B5EF4-FFF2-40B4-BE49-F238E27FC236}">
                <a16:creationId xmlns:a16="http://schemas.microsoft.com/office/drawing/2014/main" id="{095DCB03-B7A1-6B00-BC51-6A2712B64A79}"/>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10" name="Graphic 3">
            <a:extLst>
              <a:ext uri="{FF2B5EF4-FFF2-40B4-BE49-F238E27FC236}">
                <a16:creationId xmlns:a16="http://schemas.microsoft.com/office/drawing/2014/main" id="{49D9392C-9E29-427F-3C29-C64146E898C7}"/>
              </a:ext>
            </a:extLst>
          </p:cNvPr>
          <p:cNvGrpSpPr/>
          <p:nvPr userDrawn="1"/>
        </p:nvGrpSpPr>
        <p:grpSpPr>
          <a:xfrm>
            <a:off x="1237478" y="4482674"/>
            <a:ext cx="1363492" cy="307063"/>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3" name="TextBox 2">
            <a:extLst>
              <a:ext uri="{FF2B5EF4-FFF2-40B4-BE49-F238E27FC236}">
                <a16:creationId xmlns:a16="http://schemas.microsoft.com/office/drawing/2014/main" id="{659763D9-588F-2473-91CB-B8C347B72189}"/>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6" name="Slide Number Placeholder 5">
            <a:extLst>
              <a:ext uri="{FF2B5EF4-FFF2-40B4-BE49-F238E27FC236}">
                <a16:creationId xmlns:a16="http://schemas.microsoft.com/office/drawing/2014/main" id="{23FCDC52-0E62-A2F4-0387-BFC107C7F66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5509633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1.1.2 - Title">
    <p:bg>
      <p:bgPr>
        <a:solidFill>
          <a:schemeClr val="bg1">
            <a:lumMod val="95000"/>
          </a:schemeClr>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E82111FF-8B69-3046-B4F6-096A2E658A8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0" name="Slide Number Placeholder 5">
            <a:extLst>
              <a:ext uri="{FF2B5EF4-FFF2-40B4-BE49-F238E27FC236}">
                <a16:creationId xmlns:a16="http://schemas.microsoft.com/office/drawing/2014/main" id="{57EA8249-B213-5B4C-BDF1-E095DA7E12F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sp>
        <p:nvSpPr>
          <p:cNvPr id="13" name="Footer Placeholder 2">
            <a:extLst>
              <a:ext uri="{FF2B5EF4-FFF2-40B4-BE49-F238E27FC236}">
                <a16:creationId xmlns:a16="http://schemas.microsoft.com/office/drawing/2014/main" id="{2AABC1C6-DBE8-994B-A657-8A276352F102}"/>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10092795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2 - Cover N PurpleBlue1">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901"/>
            <a:ext cx="5144400" cy="5144400"/>
          </a:xfrm>
          <a:prstGeom prst="rect">
            <a:avLst/>
          </a:prstGeom>
        </p:spPr>
      </p:pic>
      <p:sp>
        <p:nvSpPr>
          <p:cNvPr id="11" name="Title 4">
            <a:extLst>
              <a:ext uri="{FF2B5EF4-FFF2-40B4-BE49-F238E27FC236}">
                <a16:creationId xmlns:a16="http://schemas.microsoft.com/office/drawing/2014/main" id="{59E922F0-08F0-9919-8C26-CE716C3AE5B2}"/>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2" name="Text Placeholder 3">
            <a:extLst>
              <a:ext uri="{FF2B5EF4-FFF2-40B4-BE49-F238E27FC236}">
                <a16:creationId xmlns:a16="http://schemas.microsoft.com/office/drawing/2014/main" id="{FDF29A45-EE41-3151-6F22-1274BFD4DDDB}"/>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7" name="Graphic 3">
            <a:extLst>
              <a:ext uri="{FF2B5EF4-FFF2-40B4-BE49-F238E27FC236}">
                <a16:creationId xmlns:a16="http://schemas.microsoft.com/office/drawing/2014/main" id="{AC803887-2AFC-DF73-DE60-1BE27DDE158C}"/>
              </a:ext>
            </a:extLst>
          </p:cNvPr>
          <p:cNvGrpSpPr/>
          <p:nvPr userDrawn="1"/>
        </p:nvGrpSpPr>
        <p:grpSpPr>
          <a:xfrm>
            <a:off x="1237478" y="4482674"/>
            <a:ext cx="1363492" cy="307063"/>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0" name="TextBox 19">
            <a:extLst>
              <a:ext uri="{FF2B5EF4-FFF2-40B4-BE49-F238E27FC236}">
                <a16:creationId xmlns:a16="http://schemas.microsoft.com/office/drawing/2014/main" id="{77E65701-8704-DC44-7F06-7957F6D50DDE}"/>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B0CCF65E-F2C0-F179-6CEF-6926AE13A1A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9109734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3 - Cover N Pink1">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237478" y="4482674"/>
            <a:ext cx="1363492" cy="307063"/>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8" name="TextBox 17">
            <a:extLst>
              <a:ext uri="{FF2B5EF4-FFF2-40B4-BE49-F238E27FC236}">
                <a16:creationId xmlns:a16="http://schemas.microsoft.com/office/drawing/2014/main" id="{3E6645AA-35C5-E748-B0E7-E2C965BD0240}"/>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3" name="Slide Number Placeholder 5">
            <a:extLst>
              <a:ext uri="{FF2B5EF4-FFF2-40B4-BE49-F238E27FC236}">
                <a16:creationId xmlns:a16="http://schemas.microsoft.com/office/drawing/2014/main" id="{50204DC1-75EB-AD42-88F7-EB21A60807CC}"/>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41548159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1.4.3 - Cover N Pink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C7D16BB-9265-7D3A-E136-8F028A9F86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0" y="0"/>
            <a:ext cx="9144000" cy="51435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pic>
        <p:nvPicPr>
          <p:cNvPr id="4" name="Picture 3" descr="A person in a brown dress&#10;&#10;Description automatically generated with medium confidence">
            <a:extLst>
              <a:ext uri="{FF2B5EF4-FFF2-40B4-BE49-F238E27FC236}">
                <a16:creationId xmlns:a16="http://schemas.microsoft.com/office/drawing/2014/main" id="{D24FABB4-3D7F-BB43-ACB6-6C4AD04A397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59758" y="277282"/>
            <a:ext cx="4879537" cy="4879537"/>
          </a:xfrm>
          <a:prstGeom prst="rect">
            <a:avLst/>
          </a:prstGeom>
        </p:spPr>
      </p:pic>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1292013"/>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717050"/>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18" name="Graphic 3">
            <a:extLst>
              <a:ext uri="{FF2B5EF4-FFF2-40B4-BE49-F238E27FC236}">
                <a16:creationId xmlns:a16="http://schemas.microsoft.com/office/drawing/2014/main" id="{53B2B245-6BA3-C44A-B987-5DF7BCDB978B}"/>
              </a:ext>
            </a:extLst>
          </p:cNvPr>
          <p:cNvGrpSpPr/>
          <p:nvPr userDrawn="1"/>
        </p:nvGrpSpPr>
        <p:grpSpPr>
          <a:xfrm>
            <a:off x="5263796" y="363206"/>
            <a:ext cx="1363492" cy="307063"/>
            <a:chOff x="469958" y="1647414"/>
            <a:chExt cx="8205029" cy="1847802"/>
          </a:xfrm>
          <a:solidFill>
            <a:schemeClr val="bg1"/>
          </a:solidFill>
        </p:grpSpPr>
        <p:sp>
          <p:nvSpPr>
            <p:cNvPr id="23" name="Freeform 33">
              <a:extLst>
                <a:ext uri="{FF2B5EF4-FFF2-40B4-BE49-F238E27FC236}">
                  <a16:creationId xmlns:a16="http://schemas.microsoft.com/office/drawing/2014/main" id="{354B9AD1-2BDE-364E-A794-65ADBD5A9534}"/>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4" name="Freeform 34">
              <a:extLst>
                <a:ext uri="{FF2B5EF4-FFF2-40B4-BE49-F238E27FC236}">
                  <a16:creationId xmlns:a16="http://schemas.microsoft.com/office/drawing/2014/main" id="{0D9374E7-0798-1F4C-AEF5-0A7CAF0127B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25" name="Freeform 35">
              <a:extLst>
                <a:ext uri="{FF2B5EF4-FFF2-40B4-BE49-F238E27FC236}">
                  <a16:creationId xmlns:a16="http://schemas.microsoft.com/office/drawing/2014/main" id="{932CD25F-3B22-D842-80A4-FAD92770A6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26" name="Freeform 36">
              <a:extLst>
                <a:ext uri="{FF2B5EF4-FFF2-40B4-BE49-F238E27FC236}">
                  <a16:creationId xmlns:a16="http://schemas.microsoft.com/office/drawing/2014/main" id="{79654C1D-2668-7643-8E88-EF3945CF954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7" name="Freeform 37">
              <a:extLst>
                <a:ext uri="{FF2B5EF4-FFF2-40B4-BE49-F238E27FC236}">
                  <a16:creationId xmlns:a16="http://schemas.microsoft.com/office/drawing/2014/main" id="{C46126A0-328E-C141-BA84-5EB9E25E9609}"/>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7" name="TextBox 16">
            <a:extLst>
              <a:ext uri="{FF2B5EF4-FFF2-40B4-BE49-F238E27FC236}">
                <a16:creationId xmlns:a16="http://schemas.microsoft.com/office/drawing/2014/main" id="{D9D3A204-4C3E-B640-A9EE-4420826AABD9}"/>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8" name="Slide Number Placeholder 5">
            <a:extLst>
              <a:ext uri="{FF2B5EF4-FFF2-40B4-BE49-F238E27FC236}">
                <a16:creationId xmlns:a16="http://schemas.microsoft.com/office/drawing/2014/main" id="{025CAD33-C5BD-A64D-AEFB-C699893BA60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252438724"/>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1.4.3 - Cover N Pink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C7D16BB-9265-7D3A-E136-8F028A9F86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0" y="0"/>
            <a:ext cx="9144000" cy="51435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1292013"/>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717050"/>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5" name="Picture 4" descr="A person wearing a vr headset&#10;&#10;Description automatically generated with medium confidence">
            <a:extLst>
              <a:ext uri="{FF2B5EF4-FFF2-40B4-BE49-F238E27FC236}">
                <a16:creationId xmlns:a16="http://schemas.microsoft.com/office/drawing/2014/main" id="{5DF50736-514C-FD4F-AC6B-3DD7EBC268A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340659"/>
            <a:ext cx="5183116" cy="5484159"/>
          </a:xfrm>
          <a:prstGeom prst="rect">
            <a:avLst/>
          </a:prstGeom>
        </p:spPr>
      </p:pic>
      <p:grpSp>
        <p:nvGrpSpPr>
          <p:cNvPr id="18" name="Graphic 3">
            <a:extLst>
              <a:ext uri="{FF2B5EF4-FFF2-40B4-BE49-F238E27FC236}">
                <a16:creationId xmlns:a16="http://schemas.microsoft.com/office/drawing/2014/main" id="{42A8CBF7-9F44-6447-AD77-A7A80E3A292E}"/>
              </a:ext>
            </a:extLst>
          </p:cNvPr>
          <p:cNvGrpSpPr/>
          <p:nvPr userDrawn="1"/>
        </p:nvGrpSpPr>
        <p:grpSpPr>
          <a:xfrm>
            <a:off x="5263796" y="363206"/>
            <a:ext cx="1363492" cy="307063"/>
            <a:chOff x="469958" y="1647414"/>
            <a:chExt cx="8205029" cy="1847802"/>
          </a:xfrm>
          <a:solidFill>
            <a:schemeClr val="bg1"/>
          </a:solidFill>
        </p:grpSpPr>
        <p:sp>
          <p:nvSpPr>
            <p:cNvPr id="23" name="Freeform 33">
              <a:extLst>
                <a:ext uri="{FF2B5EF4-FFF2-40B4-BE49-F238E27FC236}">
                  <a16:creationId xmlns:a16="http://schemas.microsoft.com/office/drawing/2014/main" id="{0002FF7A-5A20-4C46-8287-5ED3C3335F2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4" name="Freeform 34">
              <a:extLst>
                <a:ext uri="{FF2B5EF4-FFF2-40B4-BE49-F238E27FC236}">
                  <a16:creationId xmlns:a16="http://schemas.microsoft.com/office/drawing/2014/main" id="{E5BF4364-437E-4145-9147-76C8AC102D3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25" name="Freeform 35">
              <a:extLst>
                <a:ext uri="{FF2B5EF4-FFF2-40B4-BE49-F238E27FC236}">
                  <a16:creationId xmlns:a16="http://schemas.microsoft.com/office/drawing/2014/main" id="{8922AFA7-BB6B-3741-9A23-9217E84818F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26" name="Freeform 36">
              <a:extLst>
                <a:ext uri="{FF2B5EF4-FFF2-40B4-BE49-F238E27FC236}">
                  <a16:creationId xmlns:a16="http://schemas.microsoft.com/office/drawing/2014/main" id="{BAFF590A-C659-6D4A-BE88-C3C0A73A07BF}"/>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7" name="Freeform 37">
              <a:extLst>
                <a:ext uri="{FF2B5EF4-FFF2-40B4-BE49-F238E27FC236}">
                  <a16:creationId xmlns:a16="http://schemas.microsoft.com/office/drawing/2014/main" id="{9ADFA883-D408-494F-9A04-26155135853E}"/>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7" name="TextBox 16">
            <a:extLst>
              <a:ext uri="{FF2B5EF4-FFF2-40B4-BE49-F238E27FC236}">
                <a16:creationId xmlns:a16="http://schemas.microsoft.com/office/drawing/2014/main" id="{B1724708-F2DA-9244-BFB5-E146D7DF7A1E}"/>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8" name="Slide Number Placeholder 5">
            <a:extLst>
              <a:ext uri="{FF2B5EF4-FFF2-40B4-BE49-F238E27FC236}">
                <a16:creationId xmlns:a16="http://schemas.microsoft.com/office/drawing/2014/main" id="{39E0CF01-83B9-7342-A803-4A3AB370074E}"/>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729730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1.4.2 - Cover N PurpleBlue1">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901"/>
            <a:ext cx="5144400" cy="5144400"/>
          </a:xfrm>
          <a:prstGeom prst="rect">
            <a:avLst/>
          </a:prstGeom>
        </p:spPr>
      </p:pic>
      <p:sp>
        <p:nvSpPr>
          <p:cNvPr id="25" name="Title 4">
            <a:extLst>
              <a:ext uri="{FF2B5EF4-FFF2-40B4-BE49-F238E27FC236}">
                <a16:creationId xmlns:a16="http://schemas.microsoft.com/office/drawing/2014/main" id="{54546C6C-6554-0842-AAAB-7705EA36B44A}"/>
              </a:ext>
            </a:extLst>
          </p:cNvPr>
          <p:cNvSpPr>
            <a:spLocks noGrp="1"/>
          </p:cNvSpPr>
          <p:nvPr>
            <p:ph type="title" hasCustomPrompt="1"/>
          </p:nvPr>
        </p:nvSpPr>
        <p:spPr>
          <a:xfrm>
            <a:off x="5292671" y="1292013"/>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6" name="Text Placeholder 3">
            <a:extLst>
              <a:ext uri="{FF2B5EF4-FFF2-40B4-BE49-F238E27FC236}">
                <a16:creationId xmlns:a16="http://schemas.microsoft.com/office/drawing/2014/main" id="{CB8510BF-5AFC-B741-B809-F66B1E9DC495}"/>
              </a:ext>
            </a:extLst>
          </p:cNvPr>
          <p:cNvSpPr>
            <a:spLocks noGrp="1"/>
          </p:cNvSpPr>
          <p:nvPr>
            <p:ph type="body" sz="quarter" idx="12" hasCustomPrompt="1"/>
          </p:nvPr>
        </p:nvSpPr>
        <p:spPr>
          <a:xfrm>
            <a:off x="5292671" y="2717050"/>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4" name="Picture 3" descr="A person wearing a virtual reality headset&#10;&#10;Description automatically generated with medium confidence">
            <a:extLst>
              <a:ext uri="{FF2B5EF4-FFF2-40B4-BE49-F238E27FC236}">
                <a16:creationId xmlns:a16="http://schemas.microsoft.com/office/drawing/2014/main" id="{9402AF35-FA2C-5248-9B66-2D5833BA4A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641914" y="279770"/>
            <a:ext cx="7310063" cy="4874559"/>
          </a:xfrm>
          <a:prstGeom prst="rect">
            <a:avLst/>
          </a:prstGeom>
        </p:spPr>
      </p:pic>
      <p:grpSp>
        <p:nvGrpSpPr>
          <p:cNvPr id="27" name="Graphic 3">
            <a:extLst>
              <a:ext uri="{FF2B5EF4-FFF2-40B4-BE49-F238E27FC236}">
                <a16:creationId xmlns:a16="http://schemas.microsoft.com/office/drawing/2014/main" id="{FD745D82-1B5E-D140-8857-BD1AB7165648}"/>
              </a:ext>
            </a:extLst>
          </p:cNvPr>
          <p:cNvGrpSpPr/>
          <p:nvPr userDrawn="1"/>
        </p:nvGrpSpPr>
        <p:grpSpPr>
          <a:xfrm>
            <a:off x="5263796" y="363206"/>
            <a:ext cx="1363492" cy="307063"/>
            <a:chOff x="469958" y="1647414"/>
            <a:chExt cx="8205029" cy="1847802"/>
          </a:xfrm>
          <a:solidFill>
            <a:schemeClr val="bg1"/>
          </a:solidFill>
        </p:grpSpPr>
        <p:sp>
          <p:nvSpPr>
            <p:cNvPr id="28" name="Freeform 33">
              <a:extLst>
                <a:ext uri="{FF2B5EF4-FFF2-40B4-BE49-F238E27FC236}">
                  <a16:creationId xmlns:a16="http://schemas.microsoft.com/office/drawing/2014/main" id="{1EB3E0ED-55BB-A142-8030-B4DEE14503C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9" name="Freeform 34">
              <a:extLst>
                <a:ext uri="{FF2B5EF4-FFF2-40B4-BE49-F238E27FC236}">
                  <a16:creationId xmlns:a16="http://schemas.microsoft.com/office/drawing/2014/main" id="{6DF8E6EF-72D3-874F-A2B0-6EC39CE052AC}"/>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30" name="Freeform 35">
              <a:extLst>
                <a:ext uri="{FF2B5EF4-FFF2-40B4-BE49-F238E27FC236}">
                  <a16:creationId xmlns:a16="http://schemas.microsoft.com/office/drawing/2014/main" id="{E097A539-1FDC-3246-ADA4-5C434C8FDE1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31" name="Freeform 36">
              <a:extLst>
                <a:ext uri="{FF2B5EF4-FFF2-40B4-BE49-F238E27FC236}">
                  <a16:creationId xmlns:a16="http://schemas.microsoft.com/office/drawing/2014/main" id="{261ADE3D-F723-E34F-8E92-F9391DEA655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32" name="Freeform 37">
              <a:extLst>
                <a:ext uri="{FF2B5EF4-FFF2-40B4-BE49-F238E27FC236}">
                  <a16:creationId xmlns:a16="http://schemas.microsoft.com/office/drawing/2014/main" id="{6434EDD4-DF5C-FD46-AF25-29EB4F64C3D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7" name="TextBox 16">
            <a:extLst>
              <a:ext uri="{FF2B5EF4-FFF2-40B4-BE49-F238E27FC236}">
                <a16:creationId xmlns:a16="http://schemas.microsoft.com/office/drawing/2014/main" id="{2C7539BC-4242-9943-A3A0-9E57F839E98D}"/>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8" name="Slide Number Placeholder 5">
            <a:extLst>
              <a:ext uri="{FF2B5EF4-FFF2-40B4-BE49-F238E27FC236}">
                <a16:creationId xmlns:a16="http://schemas.microsoft.com/office/drawing/2014/main" id="{D14E8A2E-2F8A-AB4F-9C4E-1C293A3D3B54}"/>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0799119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1.4.2 - Cover N PurpleBlue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A036052-A0E2-904D-A161-518C90D4943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902"/>
            <a:ext cx="9144000" cy="51435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901"/>
            <a:ext cx="5144400" cy="5144400"/>
          </a:xfrm>
          <a:prstGeom prst="rect">
            <a:avLst/>
          </a:prstGeom>
        </p:spPr>
      </p:pic>
      <p:sp>
        <p:nvSpPr>
          <p:cNvPr id="20" name="TextBox 19">
            <a:extLst>
              <a:ext uri="{FF2B5EF4-FFF2-40B4-BE49-F238E27FC236}">
                <a16:creationId xmlns:a16="http://schemas.microsoft.com/office/drawing/2014/main" id="{77E65701-8704-DC44-7F06-7957F6D50DDE}"/>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B0CCF65E-F2C0-F179-6CEF-6926AE13A1A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5" name="Title 4">
            <a:extLst>
              <a:ext uri="{FF2B5EF4-FFF2-40B4-BE49-F238E27FC236}">
                <a16:creationId xmlns:a16="http://schemas.microsoft.com/office/drawing/2014/main" id="{54546C6C-6554-0842-AAAB-7705EA36B44A}"/>
              </a:ext>
            </a:extLst>
          </p:cNvPr>
          <p:cNvSpPr>
            <a:spLocks noGrp="1"/>
          </p:cNvSpPr>
          <p:nvPr>
            <p:ph type="title" hasCustomPrompt="1"/>
          </p:nvPr>
        </p:nvSpPr>
        <p:spPr>
          <a:xfrm>
            <a:off x="5292671" y="1292013"/>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6" name="Text Placeholder 3">
            <a:extLst>
              <a:ext uri="{FF2B5EF4-FFF2-40B4-BE49-F238E27FC236}">
                <a16:creationId xmlns:a16="http://schemas.microsoft.com/office/drawing/2014/main" id="{CB8510BF-5AFC-B741-B809-F66B1E9DC495}"/>
              </a:ext>
            </a:extLst>
          </p:cNvPr>
          <p:cNvSpPr>
            <a:spLocks noGrp="1"/>
          </p:cNvSpPr>
          <p:nvPr>
            <p:ph type="body" sz="quarter" idx="12" hasCustomPrompt="1"/>
          </p:nvPr>
        </p:nvSpPr>
        <p:spPr>
          <a:xfrm>
            <a:off x="5292671" y="2717050"/>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27" name="Graphic 3">
            <a:extLst>
              <a:ext uri="{FF2B5EF4-FFF2-40B4-BE49-F238E27FC236}">
                <a16:creationId xmlns:a16="http://schemas.microsoft.com/office/drawing/2014/main" id="{FD745D82-1B5E-D140-8857-BD1AB7165648}"/>
              </a:ext>
            </a:extLst>
          </p:cNvPr>
          <p:cNvGrpSpPr/>
          <p:nvPr userDrawn="1"/>
        </p:nvGrpSpPr>
        <p:grpSpPr>
          <a:xfrm>
            <a:off x="5263796" y="363206"/>
            <a:ext cx="1363492" cy="307063"/>
            <a:chOff x="469958" y="1647414"/>
            <a:chExt cx="8205029" cy="1847802"/>
          </a:xfrm>
          <a:solidFill>
            <a:schemeClr val="bg1"/>
          </a:solidFill>
        </p:grpSpPr>
        <p:sp>
          <p:nvSpPr>
            <p:cNvPr id="28" name="Freeform 33">
              <a:extLst>
                <a:ext uri="{FF2B5EF4-FFF2-40B4-BE49-F238E27FC236}">
                  <a16:creationId xmlns:a16="http://schemas.microsoft.com/office/drawing/2014/main" id="{1EB3E0ED-55BB-A142-8030-B4DEE14503C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9" name="Freeform 34">
              <a:extLst>
                <a:ext uri="{FF2B5EF4-FFF2-40B4-BE49-F238E27FC236}">
                  <a16:creationId xmlns:a16="http://schemas.microsoft.com/office/drawing/2014/main" id="{6DF8E6EF-72D3-874F-A2B0-6EC39CE052AC}"/>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30" name="Freeform 35">
              <a:extLst>
                <a:ext uri="{FF2B5EF4-FFF2-40B4-BE49-F238E27FC236}">
                  <a16:creationId xmlns:a16="http://schemas.microsoft.com/office/drawing/2014/main" id="{E097A539-1FDC-3246-ADA4-5C434C8FDE1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31" name="Freeform 36">
              <a:extLst>
                <a:ext uri="{FF2B5EF4-FFF2-40B4-BE49-F238E27FC236}">
                  <a16:creationId xmlns:a16="http://schemas.microsoft.com/office/drawing/2014/main" id="{261ADE3D-F723-E34F-8E92-F9391DEA655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32" name="Freeform 37">
              <a:extLst>
                <a:ext uri="{FF2B5EF4-FFF2-40B4-BE49-F238E27FC236}">
                  <a16:creationId xmlns:a16="http://schemas.microsoft.com/office/drawing/2014/main" id="{6434EDD4-DF5C-FD46-AF25-29EB4F64C3D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pic>
        <p:nvPicPr>
          <p:cNvPr id="6" name="Picture 5" descr="A person holding a tablet&#10;&#10;Description automatically generated">
            <a:extLst>
              <a:ext uri="{FF2B5EF4-FFF2-40B4-BE49-F238E27FC236}">
                <a16:creationId xmlns:a16="http://schemas.microsoft.com/office/drawing/2014/main" id="{B2A43EF5-F7C6-C344-BDC0-545AF1AC56B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242371" y="363205"/>
            <a:ext cx="4364666" cy="4780293"/>
          </a:xfrm>
          <a:prstGeom prst="rect">
            <a:avLst/>
          </a:prstGeom>
          <a:effectLst>
            <a:outerShdw blurRad="551524" dist="50800" dir="5400000" sx="77000" sy="77000" algn="ctr" rotWithShape="0">
              <a:srgbClr val="000000">
                <a:alpha val="49000"/>
              </a:srgbClr>
            </a:outerShdw>
          </a:effectLst>
        </p:spPr>
      </p:pic>
    </p:spTree>
    <p:extLst>
      <p:ext uri="{BB962C8B-B14F-4D97-AF65-F5344CB8AC3E}">
        <p14:creationId xmlns:p14="http://schemas.microsoft.com/office/powerpoint/2010/main" val="32520251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1.4.2 - Cover N PurpleBlue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A036052-A0E2-904D-A161-518C90D494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902"/>
            <a:ext cx="9144000" cy="5143500"/>
          </a:xfrm>
          <a:prstGeom prst="rect">
            <a:avLst/>
          </a:prstGeom>
        </p:spPr>
      </p:pic>
      <p:sp>
        <p:nvSpPr>
          <p:cNvPr id="20" name="TextBox 19">
            <a:extLst>
              <a:ext uri="{FF2B5EF4-FFF2-40B4-BE49-F238E27FC236}">
                <a16:creationId xmlns:a16="http://schemas.microsoft.com/office/drawing/2014/main" id="{77E65701-8704-DC44-7F06-7957F6D50DDE}"/>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B0CCF65E-F2C0-F179-6CEF-6926AE13A1A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5" name="Title 4">
            <a:extLst>
              <a:ext uri="{FF2B5EF4-FFF2-40B4-BE49-F238E27FC236}">
                <a16:creationId xmlns:a16="http://schemas.microsoft.com/office/drawing/2014/main" id="{54546C6C-6554-0842-AAAB-7705EA36B44A}"/>
              </a:ext>
            </a:extLst>
          </p:cNvPr>
          <p:cNvSpPr>
            <a:spLocks noGrp="1"/>
          </p:cNvSpPr>
          <p:nvPr>
            <p:ph type="title" hasCustomPrompt="1"/>
          </p:nvPr>
        </p:nvSpPr>
        <p:spPr>
          <a:xfrm>
            <a:off x="5292671" y="1292013"/>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6" name="Text Placeholder 3">
            <a:extLst>
              <a:ext uri="{FF2B5EF4-FFF2-40B4-BE49-F238E27FC236}">
                <a16:creationId xmlns:a16="http://schemas.microsoft.com/office/drawing/2014/main" id="{CB8510BF-5AFC-B741-B809-F66B1E9DC495}"/>
              </a:ext>
            </a:extLst>
          </p:cNvPr>
          <p:cNvSpPr>
            <a:spLocks noGrp="1"/>
          </p:cNvSpPr>
          <p:nvPr>
            <p:ph type="body" sz="quarter" idx="12" hasCustomPrompt="1"/>
          </p:nvPr>
        </p:nvSpPr>
        <p:spPr>
          <a:xfrm>
            <a:off x="5292671" y="2717050"/>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27" name="Graphic 3">
            <a:extLst>
              <a:ext uri="{FF2B5EF4-FFF2-40B4-BE49-F238E27FC236}">
                <a16:creationId xmlns:a16="http://schemas.microsoft.com/office/drawing/2014/main" id="{FD745D82-1B5E-D140-8857-BD1AB7165648}"/>
              </a:ext>
            </a:extLst>
          </p:cNvPr>
          <p:cNvGrpSpPr/>
          <p:nvPr userDrawn="1"/>
        </p:nvGrpSpPr>
        <p:grpSpPr>
          <a:xfrm>
            <a:off x="5263796" y="363206"/>
            <a:ext cx="1363492" cy="307063"/>
            <a:chOff x="469958" y="1647414"/>
            <a:chExt cx="8205029" cy="1847802"/>
          </a:xfrm>
          <a:solidFill>
            <a:schemeClr val="bg1"/>
          </a:solidFill>
        </p:grpSpPr>
        <p:sp>
          <p:nvSpPr>
            <p:cNvPr id="28" name="Freeform 33">
              <a:extLst>
                <a:ext uri="{FF2B5EF4-FFF2-40B4-BE49-F238E27FC236}">
                  <a16:creationId xmlns:a16="http://schemas.microsoft.com/office/drawing/2014/main" id="{1EB3E0ED-55BB-A142-8030-B4DEE14503C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9" name="Freeform 34">
              <a:extLst>
                <a:ext uri="{FF2B5EF4-FFF2-40B4-BE49-F238E27FC236}">
                  <a16:creationId xmlns:a16="http://schemas.microsoft.com/office/drawing/2014/main" id="{6DF8E6EF-72D3-874F-A2B0-6EC39CE052AC}"/>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30" name="Freeform 35">
              <a:extLst>
                <a:ext uri="{FF2B5EF4-FFF2-40B4-BE49-F238E27FC236}">
                  <a16:creationId xmlns:a16="http://schemas.microsoft.com/office/drawing/2014/main" id="{E097A539-1FDC-3246-ADA4-5C434C8FDE1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31" name="Freeform 36">
              <a:extLst>
                <a:ext uri="{FF2B5EF4-FFF2-40B4-BE49-F238E27FC236}">
                  <a16:creationId xmlns:a16="http://schemas.microsoft.com/office/drawing/2014/main" id="{261ADE3D-F723-E34F-8E92-F9391DEA655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32" name="Freeform 37">
              <a:extLst>
                <a:ext uri="{FF2B5EF4-FFF2-40B4-BE49-F238E27FC236}">
                  <a16:creationId xmlns:a16="http://schemas.microsoft.com/office/drawing/2014/main" id="{6434EDD4-DF5C-FD46-AF25-29EB4F64C3D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Tree>
    <p:extLst>
      <p:ext uri="{BB962C8B-B14F-4D97-AF65-F5344CB8AC3E}">
        <p14:creationId xmlns:p14="http://schemas.microsoft.com/office/powerpoint/2010/main" val="8824310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1.4.2 - Cover N PurpleBlue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A036052-A0E2-904D-A161-518C90D494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902"/>
            <a:ext cx="9144000" cy="5143500"/>
          </a:xfrm>
          <a:prstGeom prst="rect">
            <a:avLst/>
          </a:prstGeom>
        </p:spPr>
      </p:pic>
      <p:sp>
        <p:nvSpPr>
          <p:cNvPr id="20" name="TextBox 19">
            <a:extLst>
              <a:ext uri="{FF2B5EF4-FFF2-40B4-BE49-F238E27FC236}">
                <a16:creationId xmlns:a16="http://schemas.microsoft.com/office/drawing/2014/main" id="{77E65701-8704-DC44-7F06-7957F6D50DDE}"/>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B0CCF65E-F2C0-F179-6CEF-6926AE13A1A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5" name="Title 4">
            <a:extLst>
              <a:ext uri="{FF2B5EF4-FFF2-40B4-BE49-F238E27FC236}">
                <a16:creationId xmlns:a16="http://schemas.microsoft.com/office/drawing/2014/main" id="{54546C6C-6554-0842-AAAB-7705EA36B44A}"/>
              </a:ext>
            </a:extLst>
          </p:cNvPr>
          <p:cNvSpPr>
            <a:spLocks noGrp="1"/>
          </p:cNvSpPr>
          <p:nvPr>
            <p:ph type="title" hasCustomPrompt="1"/>
          </p:nvPr>
        </p:nvSpPr>
        <p:spPr>
          <a:xfrm>
            <a:off x="5292671" y="1292013"/>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6" name="Text Placeholder 3">
            <a:extLst>
              <a:ext uri="{FF2B5EF4-FFF2-40B4-BE49-F238E27FC236}">
                <a16:creationId xmlns:a16="http://schemas.microsoft.com/office/drawing/2014/main" id="{CB8510BF-5AFC-B741-B809-F66B1E9DC495}"/>
              </a:ext>
            </a:extLst>
          </p:cNvPr>
          <p:cNvSpPr>
            <a:spLocks noGrp="1"/>
          </p:cNvSpPr>
          <p:nvPr>
            <p:ph type="body" sz="quarter" idx="12" hasCustomPrompt="1"/>
          </p:nvPr>
        </p:nvSpPr>
        <p:spPr>
          <a:xfrm>
            <a:off x="5292671" y="2717050"/>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27" name="Graphic 3">
            <a:extLst>
              <a:ext uri="{FF2B5EF4-FFF2-40B4-BE49-F238E27FC236}">
                <a16:creationId xmlns:a16="http://schemas.microsoft.com/office/drawing/2014/main" id="{FD745D82-1B5E-D140-8857-BD1AB7165648}"/>
              </a:ext>
            </a:extLst>
          </p:cNvPr>
          <p:cNvGrpSpPr/>
          <p:nvPr userDrawn="1"/>
        </p:nvGrpSpPr>
        <p:grpSpPr>
          <a:xfrm>
            <a:off x="5263796" y="363206"/>
            <a:ext cx="1363492" cy="307063"/>
            <a:chOff x="469958" y="1647414"/>
            <a:chExt cx="8205029" cy="1847802"/>
          </a:xfrm>
          <a:solidFill>
            <a:schemeClr val="bg1"/>
          </a:solidFill>
        </p:grpSpPr>
        <p:sp>
          <p:nvSpPr>
            <p:cNvPr id="28" name="Freeform 33">
              <a:extLst>
                <a:ext uri="{FF2B5EF4-FFF2-40B4-BE49-F238E27FC236}">
                  <a16:creationId xmlns:a16="http://schemas.microsoft.com/office/drawing/2014/main" id="{1EB3E0ED-55BB-A142-8030-B4DEE14503C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9" name="Freeform 34">
              <a:extLst>
                <a:ext uri="{FF2B5EF4-FFF2-40B4-BE49-F238E27FC236}">
                  <a16:creationId xmlns:a16="http://schemas.microsoft.com/office/drawing/2014/main" id="{6DF8E6EF-72D3-874F-A2B0-6EC39CE052AC}"/>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30" name="Freeform 35">
              <a:extLst>
                <a:ext uri="{FF2B5EF4-FFF2-40B4-BE49-F238E27FC236}">
                  <a16:creationId xmlns:a16="http://schemas.microsoft.com/office/drawing/2014/main" id="{E097A539-1FDC-3246-ADA4-5C434C8FDE1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31" name="Freeform 36">
              <a:extLst>
                <a:ext uri="{FF2B5EF4-FFF2-40B4-BE49-F238E27FC236}">
                  <a16:creationId xmlns:a16="http://schemas.microsoft.com/office/drawing/2014/main" id="{261ADE3D-F723-E34F-8E92-F9391DEA655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32" name="Freeform 37">
              <a:extLst>
                <a:ext uri="{FF2B5EF4-FFF2-40B4-BE49-F238E27FC236}">
                  <a16:creationId xmlns:a16="http://schemas.microsoft.com/office/drawing/2014/main" id="{6434EDD4-DF5C-FD46-AF25-29EB4F64C3D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Tree>
    <p:extLst>
      <p:ext uri="{BB962C8B-B14F-4D97-AF65-F5344CB8AC3E}">
        <p14:creationId xmlns:p14="http://schemas.microsoft.com/office/powerpoint/2010/main" val="26684642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 N Pic 3">
    <p:spTree>
      <p:nvGrpSpPr>
        <p:cNvPr id="1" name=""/>
        <p:cNvGrpSpPr/>
        <p:nvPr/>
      </p:nvGrpSpPr>
      <p:grpSpPr>
        <a:xfrm>
          <a:off x="0" y="0"/>
          <a:ext cx="0" cy="0"/>
          <a:chOff x="0" y="0"/>
          <a:chExt cx="0" cy="0"/>
        </a:xfrm>
      </p:grpSpPr>
      <p:pic>
        <p:nvPicPr>
          <p:cNvPr id="4" name="Picture 3" descr="A close-up of a stack of shipping containers&#10;&#10;Description automatically generated with low confidence">
            <a:extLst>
              <a:ext uri="{FF2B5EF4-FFF2-40B4-BE49-F238E27FC236}">
                <a16:creationId xmlns:a16="http://schemas.microsoft.com/office/drawing/2014/main" id="{5ED0579A-81D2-9168-EBBC-FAF09986D0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TextBox 17">
            <a:extLst>
              <a:ext uri="{FF2B5EF4-FFF2-40B4-BE49-F238E27FC236}">
                <a16:creationId xmlns:a16="http://schemas.microsoft.com/office/drawing/2014/main" id="{B3045E81-706E-BB14-3DDB-AC56D9F33518}"/>
              </a:ext>
            </a:extLst>
          </p:cNvPr>
          <p:cNvSpPr txBox="1"/>
          <p:nvPr userDrawn="1"/>
        </p:nvSpPr>
        <p:spPr>
          <a:xfrm>
            <a:off x="8094815"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9" name="Slide Number Placeholder 5">
            <a:extLst>
              <a:ext uri="{FF2B5EF4-FFF2-40B4-BE49-F238E27FC236}">
                <a16:creationId xmlns:a16="http://schemas.microsoft.com/office/drawing/2014/main" id="{0B1E5D1B-6D7F-C600-7828-022D4F5709B7}"/>
              </a:ext>
            </a:extLst>
          </p:cNvPr>
          <p:cNvSpPr txBox="1">
            <a:spLocks/>
          </p:cNvSpPr>
          <p:nvPr userDrawn="1"/>
        </p:nvSpPr>
        <p:spPr>
          <a:xfrm>
            <a:off x="7833889"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Title 4">
            <a:extLst>
              <a:ext uri="{FF2B5EF4-FFF2-40B4-BE49-F238E27FC236}">
                <a16:creationId xmlns:a16="http://schemas.microsoft.com/office/drawing/2014/main" id="{F0180981-7B7F-4D9A-87AD-960857227942}"/>
              </a:ext>
            </a:extLst>
          </p:cNvPr>
          <p:cNvSpPr>
            <a:spLocks noGrp="1"/>
          </p:cNvSpPr>
          <p:nvPr>
            <p:ph type="title" hasCustomPrompt="1"/>
          </p:nvPr>
        </p:nvSpPr>
        <p:spPr>
          <a:xfrm>
            <a:off x="4253694" y="808419"/>
            <a:ext cx="4015503"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US" noProof="0"/>
              <a:t>Presentation</a:t>
            </a:r>
            <a:br>
              <a:rPr lang="en-US" noProof="0"/>
            </a:br>
            <a:r>
              <a:rPr lang="en-US" noProof="0"/>
              <a:t>Title (2 lines)</a:t>
            </a:r>
          </a:p>
        </p:txBody>
      </p:sp>
      <p:sp>
        <p:nvSpPr>
          <p:cNvPr id="22" name="Text Placeholder 3">
            <a:extLst>
              <a:ext uri="{FF2B5EF4-FFF2-40B4-BE49-F238E27FC236}">
                <a16:creationId xmlns:a16="http://schemas.microsoft.com/office/drawing/2014/main" id="{5C555545-3487-5A2F-B887-81AE17C8067F}"/>
              </a:ext>
            </a:extLst>
          </p:cNvPr>
          <p:cNvSpPr>
            <a:spLocks noGrp="1"/>
          </p:cNvSpPr>
          <p:nvPr>
            <p:ph type="body" sz="quarter" idx="12" hasCustomPrompt="1"/>
          </p:nvPr>
        </p:nvSpPr>
        <p:spPr>
          <a:xfrm>
            <a:off x="4253695" y="2214718"/>
            <a:ext cx="4015503"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7" name="Graphic 3">
            <a:extLst>
              <a:ext uri="{FF2B5EF4-FFF2-40B4-BE49-F238E27FC236}">
                <a16:creationId xmlns:a16="http://schemas.microsoft.com/office/drawing/2014/main" id="{141F2F9E-2569-1E90-0804-F08DCD5432C9}"/>
              </a:ext>
            </a:extLst>
          </p:cNvPr>
          <p:cNvGrpSpPr/>
          <p:nvPr userDrawn="1"/>
        </p:nvGrpSpPr>
        <p:grpSpPr>
          <a:xfrm>
            <a:off x="1237478" y="4482674"/>
            <a:ext cx="1363492" cy="307063"/>
            <a:chOff x="469958" y="1647414"/>
            <a:chExt cx="8205029" cy="1847802"/>
          </a:xfrm>
          <a:solidFill>
            <a:schemeClr val="bg1"/>
          </a:solidFill>
        </p:grpSpPr>
        <p:sp>
          <p:nvSpPr>
            <p:cNvPr id="8" name="Freeform 33">
              <a:extLst>
                <a:ext uri="{FF2B5EF4-FFF2-40B4-BE49-F238E27FC236}">
                  <a16:creationId xmlns:a16="http://schemas.microsoft.com/office/drawing/2014/main" id="{4EC62391-3475-8C83-8A97-3ECFDDDA727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4">
              <a:extLst>
                <a:ext uri="{FF2B5EF4-FFF2-40B4-BE49-F238E27FC236}">
                  <a16:creationId xmlns:a16="http://schemas.microsoft.com/office/drawing/2014/main" id="{91A6BD95-A821-7C99-3278-F5B59BF6E27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5">
              <a:extLst>
                <a:ext uri="{FF2B5EF4-FFF2-40B4-BE49-F238E27FC236}">
                  <a16:creationId xmlns:a16="http://schemas.microsoft.com/office/drawing/2014/main" id="{E8A7177F-4A85-FA18-B595-2E7B1A4507E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6">
              <a:extLst>
                <a:ext uri="{FF2B5EF4-FFF2-40B4-BE49-F238E27FC236}">
                  <a16:creationId xmlns:a16="http://schemas.microsoft.com/office/drawing/2014/main" id="{7D71B7B7-EE18-876B-0EAD-E7264E59AD8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0" name="Freeform 37">
              <a:extLst>
                <a:ext uri="{FF2B5EF4-FFF2-40B4-BE49-F238E27FC236}">
                  <a16:creationId xmlns:a16="http://schemas.microsoft.com/office/drawing/2014/main" id="{86947863-E524-DB52-FEE4-49C6B6BD8A0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Tree>
    <p:extLst>
      <p:ext uri="{BB962C8B-B14F-4D97-AF65-F5344CB8AC3E}">
        <p14:creationId xmlns:p14="http://schemas.microsoft.com/office/powerpoint/2010/main" val="26535556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4.4 - Cover N Whit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674FB718-4590-313D-1532-FE817A22ACB4}"/>
              </a:ext>
            </a:extLst>
          </p:cNvPr>
          <p:cNvSpPr/>
          <p:nvPr/>
        </p:nvSpPr>
        <p:spPr>
          <a:xfrm>
            <a:off x="0" y="0"/>
            <a:ext cx="5144400" cy="5144400"/>
          </a:xfrm>
          <a:custGeom>
            <a:avLst/>
            <a:gdLst>
              <a:gd name="connsiteX0" fmla="*/ 0 w 5144400"/>
              <a:gd name="connsiteY0" fmla="*/ 0 h 5144400"/>
              <a:gd name="connsiteX1" fmla="*/ 5144400 w 5144400"/>
              <a:gd name="connsiteY1" fmla="*/ 0 h 5144400"/>
              <a:gd name="connsiteX2" fmla="*/ 5144400 w 5144400"/>
              <a:gd name="connsiteY2" fmla="*/ 5144400 h 5144400"/>
              <a:gd name="connsiteX3" fmla="*/ 0 w 5144400"/>
              <a:gd name="connsiteY3" fmla="*/ 5144400 h 5144400"/>
            </a:gdLst>
            <a:ahLst/>
            <a:cxnLst>
              <a:cxn ang="0">
                <a:pos x="connsiteX0" y="connsiteY0"/>
              </a:cxn>
              <a:cxn ang="0">
                <a:pos x="connsiteX1" y="connsiteY1"/>
              </a:cxn>
              <a:cxn ang="0">
                <a:pos x="connsiteX2" y="connsiteY2"/>
              </a:cxn>
              <a:cxn ang="0">
                <a:pos x="connsiteX3" y="connsiteY3"/>
              </a:cxn>
            </a:cxnLst>
            <a:rect l="l" t="t" r="r" b="b"/>
            <a:pathLst>
              <a:path w="5144400" h="5144400">
                <a:moveTo>
                  <a:pt x="0" y="0"/>
                </a:moveTo>
                <a:lnTo>
                  <a:pt x="5144400" y="0"/>
                </a:lnTo>
                <a:lnTo>
                  <a:pt x="5144400" y="5144400"/>
                </a:lnTo>
                <a:lnTo>
                  <a:pt x="0" y="5144400"/>
                </a:lnTo>
                <a:close/>
              </a:path>
            </a:pathLst>
          </a:custGeom>
          <a:noFill/>
          <a:ln w="26789"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6585F427-7AA2-BA79-9FAB-3B20B348D66A}"/>
              </a:ext>
            </a:extLst>
          </p:cNvPr>
          <p:cNvSpPr/>
          <p:nvPr/>
        </p:nvSpPr>
        <p:spPr>
          <a:xfrm>
            <a:off x="0" y="0"/>
            <a:ext cx="5144400" cy="5144400"/>
          </a:xfrm>
          <a:custGeom>
            <a:avLst/>
            <a:gdLst>
              <a:gd name="connsiteX0" fmla="*/ 0 w 5144400"/>
              <a:gd name="connsiteY0" fmla="*/ 0 h 5144400"/>
              <a:gd name="connsiteX1" fmla="*/ 0 w 5144400"/>
              <a:gd name="connsiteY1" fmla="*/ 5144400 h 5144400"/>
              <a:gd name="connsiteX2" fmla="*/ 794971 w 5144400"/>
              <a:gd name="connsiteY2" fmla="*/ 5144400 h 5144400"/>
              <a:gd name="connsiteX3" fmla="*/ 794971 w 5144400"/>
              <a:gd name="connsiteY3" fmla="*/ 1741594 h 5144400"/>
              <a:gd name="connsiteX4" fmla="*/ 5144400 w 5144400"/>
              <a:gd name="connsiteY4" fmla="*/ 5144400 h 5144400"/>
              <a:gd name="connsiteX5" fmla="*/ 5144400 w 5144400"/>
              <a:gd name="connsiteY5" fmla="*/ 4142850 h 5144400"/>
              <a:gd name="connsiteX6" fmla="*/ 0 w 5144400"/>
              <a:gd name="connsiteY6" fmla="*/ 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4400" h="5144400">
                <a:moveTo>
                  <a:pt x="0" y="0"/>
                </a:moveTo>
                <a:lnTo>
                  <a:pt x="0" y="5144400"/>
                </a:lnTo>
                <a:cubicBezTo>
                  <a:pt x="0" y="5144400"/>
                  <a:pt x="794971" y="5144400"/>
                  <a:pt x="794971" y="5144400"/>
                </a:cubicBezTo>
                <a:lnTo>
                  <a:pt x="794971" y="1741594"/>
                </a:lnTo>
                <a:cubicBezTo>
                  <a:pt x="794971" y="1741594"/>
                  <a:pt x="5144400" y="5144400"/>
                  <a:pt x="5144400" y="5144400"/>
                </a:cubicBezTo>
                <a:lnTo>
                  <a:pt x="5144400" y="4142850"/>
                </a:lnTo>
                <a:lnTo>
                  <a:pt x="0" y="0"/>
                </a:lnTo>
                <a:close/>
              </a:path>
            </a:pathLst>
          </a:custGeom>
          <a:solidFill>
            <a:schemeClr val="accent1"/>
          </a:solidFill>
          <a:ln w="26789" cap="flat">
            <a:noFill/>
            <a:prstDash val="solid"/>
            <a:miter/>
          </a:ln>
        </p:spPr>
        <p:txBody>
          <a:bodyPr rtlCol="0" anchor="ctr"/>
          <a:lstStyle/>
          <a:p>
            <a:endParaRPr lang="en-US"/>
          </a:p>
        </p:txBody>
      </p:sp>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a:t>Presentation</a:t>
            </a:r>
            <a:br>
              <a:rPr lang="en-GB"/>
            </a:br>
            <a:r>
              <a:rPr lang="en-GB"/>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237478" y="4482674"/>
            <a:ext cx="1363492" cy="307063"/>
            <a:chOff x="469958" y="1647414"/>
            <a:chExt cx="8205029" cy="1847802"/>
          </a:xfrm>
          <a:solidFill>
            <a:schemeClr val="accent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4" name="TextBox 23">
            <a:extLst>
              <a:ext uri="{FF2B5EF4-FFF2-40B4-BE49-F238E27FC236}">
                <a16:creationId xmlns:a16="http://schemas.microsoft.com/office/drawing/2014/main" id="{EE447E57-9E3B-2030-9902-A8BA6E7583E4}"/>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5" name="Slide Number Placeholder 5">
            <a:extLst>
              <a:ext uri="{FF2B5EF4-FFF2-40B4-BE49-F238E27FC236}">
                <a16:creationId xmlns:a16="http://schemas.microsoft.com/office/drawing/2014/main" id="{B61C7B4D-5A69-FF1F-0F31-D16D75C7921B}"/>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6743202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1.3 -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80000" indent="0">
              <a:lnSpc>
                <a:spcPct val="100000"/>
              </a:lnSpc>
              <a:spcBef>
                <a:spcPts val="0"/>
              </a:spcBef>
              <a:spcAft>
                <a:spcPts val="600"/>
              </a:spcAft>
              <a:buSzPct val="70000"/>
              <a:buNone/>
              <a:defRPr sz="1200">
                <a:solidFill>
                  <a:schemeClr val="tx2"/>
                </a:solidFill>
              </a:defRPr>
            </a:lvl2pPr>
            <a:lvl3pPr marL="360000" indent="0">
              <a:lnSpc>
                <a:spcPct val="100000"/>
              </a:lnSpc>
              <a:spcBef>
                <a:spcPts val="0"/>
              </a:spcBef>
              <a:spcAft>
                <a:spcPts val="600"/>
              </a:spcAft>
              <a:buSzPct val="70000"/>
              <a:buNone/>
              <a:defRPr sz="1200">
                <a:solidFill>
                  <a:schemeClr val="tx2"/>
                </a:solidFill>
              </a:defRPr>
            </a:lvl3pPr>
            <a:lvl4pPr marL="540000" indent="0">
              <a:lnSpc>
                <a:spcPct val="100000"/>
              </a:lnSpc>
              <a:spcBef>
                <a:spcPts val="0"/>
              </a:spcBef>
              <a:spcAft>
                <a:spcPts val="600"/>
              </a:spcAft>
              <a:buSzPct val="70000"/>
              <a:buNone/>
              <a:defRPr sz="1200">
                <a:solidFill>
                  <a:schemeClr val="tx2"/>
                </a:solidFill>
              </a:defRPr>
            </a:lvl4pPr>
            <a:lvl5pPr marL="720000"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C4F9FBCD-64CB-D649-A0FD-E33B9565981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1" name="Slide Number Placeholder 5">
            <a:extLst>
              <a:ext uri="{FF2B5EF4-FFF2-40B4-BE49-F238E27FC236}">
                <a16:creationId xmlns:a16="http://schemas.microsoft.com/office/drawing/2014/main" id="{67987CF0-B70A-CD41-8F6A-4AA49AB9B09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sp>
        <p:nvSpPr>
          <p:cNvPr id="14" name="Footer Placeholder 2">
            <a:extLst>
              <a:ext uri="{FF2B5EF4-FFF2-40B4-BE49-F238E27FC236}">
                <a16:creationId xmlns:a16="http://schemas.microsoft.com/office/drawing/2014/main" id="{2369ABA2-91EE-E44A-8FFC-90052C66502F}"/>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39570896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5.1 - Cover O BlueGreen2">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6981148" y="2418218"/>
            <a:ext cx="1363492" cy="307063"/>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4" name="Title 4">
            <a:extLst>
              <a:ext uri="{FF2B5EF4-FFF2-40B4-BE49-F238E27FC236}">
                <a16:creationId xmlns:a16="http://schemas.microsoft.com/office/drawing/2014/main" id="{2C6BDD68-E8AC-9D13-ED1D-D43FFC8357C6}"/>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5" name="Text Placeholder 3">
            <a:extLst>
              <a:ext uri="{FF2B5EF4-FFF2-40B4-BE49-F238E27FC236}">
                <a16:creationId xmlns:a16="http://schemas.microsoft.com/office/drawing/2014/main" id="{76BF5CE8-2417-2D5D-75FE-27E0BE07F509}"/>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6" name="TextBox 15">
            <a:extLst>
              <a:ext uri="{FF2B5EF4-FFF2-40B4-BE49-F238E27FC236}">
                <a16:creationId xmlns:a16="http://schemas.microsoft.com/office/drawing/2014/main" id="{CC8B88A2-C8A9-A342-E8B5-C91DF5E71FF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7" name="Slide Number Placeholder 5">
            <a:extLst>
              <a:ext uri="{FF2B5EF4-FFF2-40B4-BE49-F238E27FC236}">
                <a16:creationId xmlns:a16="http://schemas.microsoft.com/office/drawing/2014/main" id="{9EC2290D-5934-145E-499C-1CB0349E5FA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9569975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5.2 - Cover O BluePink1">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6981148" y="2418218"/>
            <a:ext cx="1363492" cy="307063"/>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5" name="Title 4">
            <a:extLst>
              <a:ext uri="{FF2B5EF4-FFF2-40B4-BE49-F238E27FC236}">
                <a16:creationId xmlns:a16="http://schemas.microsoft.com/office/drawing/2014/main" id="{60E8CE17-B2D0-B92F-1A9F-C72280B6E9A3}"/>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6" name="Text Placeholder 3">
            <a:extLst>
              <a:ext uri="{FF2B5EF4-FFF2-40B4-BE49-F238E27FC236}">
                <a16:creationId xmlns:a16="http://schemas.microsoft.com/office/drawing/2014/main" id="{6BEF90E0-A2AA-9B05-58FB-3D4109E95C42}"/>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7" name="TextBox 16">
            <a:extLst>
              <a:ext uri="{FF2B5EF4-FFF2-40B4-BE49-F238E27FC236}">
                <a16:creationId xmlns:a16="http://schemas.microsoft.com/office/drawing/2014/main" id="{7E2A33F4-5A9C-534F-8276-149128C5209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8" name="Slide Number Placeholder 5">
            <a:extLst>
              <a:ext uri="{FF2B5EF4-FFF2-40B4-BE49-F238E27FC236}">
                <a16:creationId xmlns:a16="http://schemas.microsoft.com/office/drawing/2014/main" id="{B2C55504-0EA7-D643-BFE1-CC0BF24EF4F4}"/>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3533113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5.3 - Cover O BlueGreen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9" name="TextBox 18">
            <a:extLst>
              <a:ext uri="{FF2B5EF4-FFF2-40B4-BE49-F238E27FC236}">
                <a16:creationId xmlns:a16="http://schemas.microsoft.com/office/drawing/2014/main" id="{81FAE94A-C61E-B34C-9C77-F19C0DFA5C0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3" name="Slide Number Placeholder 5">
            <a:extLst>
              <a:ext uri="{FF2B5EF4-FFF2-40B4-BE49-F238E27FC236}">
                <a16:creationId xmlns:a16="http://schemas.microsoft.com/office/drawing/2014/main" id="{6DDCE28A-BAF3-2A45-B440-EC4D89A3B29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4390347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1.5.3 - Cover O BlueGreen3">
    <p:spTree>
      <p:nvGrpSpPr>
        <p:cNvPr id="1" name=""/>
        <p:cNvGrpSpPr/>
        <p:nvPr/>
      </p:nvGrpSpPr>
      <p:grpSpPr>
        <a:xfrm>
          <a:off x="0" y="0"/>
          <a:ext cx="0" cy="0"/>
          <a:chOff x="0" y="0"/>
          <a:chExt cx="0" cy="0"/>
        </a:xfrm>
      </p:grpSpPr>
      <p:pic>
        <p:nvPicPr>
          <p:cNvPr id="4" name="Picture 3" descr="A picture containing green&#10;&#10;Description automatically generated">
            <a:extLst>
              <a:ext uri="{FF2B5EF4-FFF2-40B4-BE49-F238E27FC236}">
                <a16:creationId xmlns:a16="http://schemas.microsoft.com/office/drawing/2014/main" id="{C02292A6-A566-F34F-8880-E7E4999879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4796"/>
            <a:ext cx="9144000" cy="5148296"/>
          </a:xfrm>
          <a:prstGeom prst="rect">
            <a:avLst/>
          </a:prstGeom>
        </p:spPr>
      </p:pic>
      <p:sp>
        <p:nvSpPr>
          <p:cNvPr id="19" name="Rectangle 18">
            <a:extLst>
              <a:ext uri="{FF2B5EF4-FFF2-40B4-BE49-F238E27FC236}">
                <a16:creationId xmlns:a16="http://schemas.microsoft.com/office/drawing/2014/main" id="{0236A5B6-29EA-794C-98BB-505A819B7634}"/>
              </a:ext>
            </a:extLst>
          </p:cNvPr>
          <p:cNvSpPr/>
          <p:nvPr userDrawn="1"/>
        </p:nvSpPr>
        <p:spPr>
          <a:xfrm>
            <a:off x="0" y="-4796"/>
            <a:ext cx="9144000" cy="5148296"/>
          </a:xfrm>
          <a:prstGeom prst="rect">
            <a:avLst/>
          </a:prstGeom>
          <a:gradFill flip="none" rotWithShape="1">
            <a:gsLst>
              <a:gs pos="25000">
                <a:srgbClr val="001135">
                  <a:alpha val="23279"/>
                </a:srgbClr>
              </a:gs>
              <a:gs pos="99000">
                <a:srgbClr val="001135">
                  <a:alpha val="0"/>
                </a:srgb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a:p>
        </p:txBody>
      </p:sp>
      <p:grpSp>
        <p:nvGrpSpPr>
          <p:cNvPr id="7" name="Graphic 3">
            <a:extLst>
              <a:ext uri="{FF2B5EF4-FFF2-40B4-BE49-F238E27FC236}">
                <a16:creationId xmlns:a16="http://schemas.microsoft.com/office/drawing/2014/main" id="{7D655505-6963-6602-F9EA-4C3B3BA5DCB7}"/>
              </a:ext>
            </a:extLst>
          </p:cNvPr>
          <p:cNvGrpSpPr/>
          <p:nvPr userDrawn="1"/>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3" name="TextBox 22">
            <a:extLst>
              <a:ext uri="{FF2B5EF4-FFF2-40B4-BE49-F238E27FC236}">
                <a16:creationId xmlns:a16="http://schemas.microsoft.com/office/drawing/2014/main" id="{74CD1CAD-F532-E446-909E-F75EA1DF1F5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4" name="Slide Number Placeholder 5">
            <a:extLst>
              <a:ext uri="{FF2B5EF4-FFF2-40B4-BE49-F238E27FC236}">
                <a16:creationId xmlns:a16="http://schemas.microsoft.com/office/drawing/2014/main" id="{369E64EF-8825-3A41-BD63-B5E98C5C28F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8171103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1.5.3 - Cover O BlueGreen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2292A6-A566-F34F-8880-E7E4999879F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2" y="3897"/>
            <a:ext cx="9144001" cy="5143500"/>
          </a:xfrm>
          <a:prstGeom prst="rect">
            <a:avLst/>
          </a:prstGeom>
        </p:spPr>
      </p:pic>
      <p:sp>
        <p:nvSpPr>
          <p:cNvPr id="19" name="Rectangle 18">
            <a:extLst>
              <a:ext uri="{FF2B5EF4-FFF2-40B4-BE49-F238E27FC236}">
                <a16:creationId xmlns:a16="http://schemas.microsoft.com/office/drawing/2014/main" id="{0236A5B6-29EA-794C-98BB-505A819B7634}"/>
              </a:ext>
            </a:extLst>
          </p:cNvPr>
          <p:cNvSpPr/>
          <p:nvPr userDrawn="1"/>
        </p:nvSpPr>
        <p:spPr>
          <a:xfrm>
            <a:off x="0" y="0"/>
            <a:ext cx="4572000" cy="5143500"/>
          </a:xfrm>
          <a:prstGeom prst="rect">
            <a:avLst/>
          </a:prstGeom>
          <a:gradFill flip="none" rotWithShape="1">
            <a:gsLst>
              <a:gs pos="25000">
                <a:schemeClr val="accent4">
                  <a:lumMod val="50000"/>
                  <a:alpha val="63000"/>
                </a:schemeClr>
              </a:gs>
              <a:gs pos="99000">
                <a:srgbClr val="001135">
                  <a:alpha val="0"/>
                </a:srgb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a:p>
        </p:txBody>
      </p:sp>
      <p:grpSp>
        <p:nvGrpSpPr>
          <p:cNvPr id="7" name="Graphic 3">
            <a:extLst>
              <a:ext uri="{FF2B5EF4-FFF2-40B4-BE49-F238E27FC236}">
                <a16:creationId xmlns:a16="http://schemas.microsoft.com/office/drawing/2014/main" id="{7D655505-6963-6602-F9EA-4C3B3BA5DCB7}"/>
              </a:ext>
            </a:extLst>
          </p:cNvPr>
          <p:cNvGrpSpPr/>
          <p:nvPr userDrawn="1"/>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0" name="TextBox 19">
            <a:extLst>
              <a:ext uri="{FF2B5EF4-FFF2-40B4-BE49-F238E27FC236}">
                <a16:creationId xmlns:a16="http://schemas.microsoft.com/office/drawing/2014/main" id="{720759C7-94BC-8FC1-9A43-A40A4BE7AC1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83D4680A-11B6-A841-EC68-FFF11409500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41783299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1.5.3 - Cover O BlueGreen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20ED13-DCC3-ED6C-4FB2-2B64E7F0411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0" y="0"/>
            <a:ext cx="9144000" cy="5143500"/>
          </a:xfrm>
          <a:prstGeom prst="rect">
            <a:avLst/>
          </a:prstGeom>
        </p:spPr>
      </p:pic>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4" name="Picture 3" descr="A child blowing a blue pinwheel&#10;&#10;Description automatically generated with medium confidence">
            <a:extLst>
              <a:ext uri="{FF2B5EF4-FFF2-40B4-BE49-F238E27FC236}">
                <a16:creationId xmlns:a16="http://schemas.microsoft.com/office/drawing/2014/main" id="{8BC1430F-E6A3-DB47-B906-594DA56C4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265326" y="106396"/>
            <a:ext cx="4878673" cy="5041900"/>
          </a:xfrm>
          <a:prstGeom prst="rect">
            <a:avLst/>
          </a:prstGeom>
        </p:spPr>
      </p:pic>
      <p:sp>
        <p:nvSpPr>
          <p:cNvPr id="28" name="TextBox 27">
            <a:extLst>
              <a:ext uri="{FF2B5EF4-FFF2-40B4-BE49-F238E27FC236}">
                <a16:creationId xmlns:a16="http://schemas.microsoft.com/office/drawing/2014/main" id="{875B134C-2BF8-6444-9CD2-04F23CA2971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9" name="Slide Number Placeholder 5">
            <a:extLst>
              <a:ext uri="{FF2B5EF4-FFF2-40B4-BE49-F238E27FC236}">
                <a16:creationId xmlns:a16="http://schemas.microsoft.com/office/drawing/2014/main" id="{861DE595-8F77-7B4E-8BB1-7C8EB4EBEBF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5" name="Graphic 3">
            <a:extLst>
              <a:ext uri="{FF2B5EF4-FFF2-40B4-BE49-F238E27FC236}">
                <a16:creationId xmlns:a16="http://schemas.microsoft.com/office/drawing/2014/main" id="{74F896A5-750C-1243-9668-D14C25621761}"/>
              </a:ext>
            </a:extLst>
          </p:cNvPr>
          <p:cNvGrpSpPr/>
          <p:nvPr userDrawn="1"/>
        </p:nvGrpSpPr>
        <p:grpSpPr>
          <a:xfrm>
            <a:off x="445383" y="404642"/>
            <a:ext cx="1363492" cy="307063"/>
            <a:chOff x="469958" y="1647414"/>
            <a:chExt cx="8205029" cy="1847802"/>
          </a:xfrm>
          <a:solidFill>
            <a:schemeClr val="bg1"/>
          </a:solidFill>
        </p:grpSpPr>
        <p:sp>
          <p:nvSpPr>
            <p:cNvPr id="20" name="Freeform 24">
              <a:extLst>
                <a:ext uri="{FF2B5EF4-FFF2-40B4-BE49-F238E27FC236}">
                  <a16:creationId xmlns:a16="http://schemas.microsoft.com/office/drawing/2014/main" id="{72C2F6C6-EE30-264C-8F6F-4372FF8B57F7}"/>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21" name="Freeform 25">
              <a:extLst>
                <a:ext uri="{FF2B5EF4-FFF2-40B4-BE49-F238E27FC236}">
                  <a16:creationId xmlns:a16="http://schemas.microsoft.com/office/drawing/2014/main" id="{37E9FB04-FAAF-614C-8C13-8E70B2649927}"/>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2" name="Freeform 26">
              <a:extLst>
                <a:ext uri="{FF2B5EF4-FFF2-40B4-BE49-F238E27FC236}">
                  <a16:creationId xmlns:a16="http://schemas.microsoft.com/office/drawing/2014/main" id="{B7376FE3-A9E1-DF4F-9C60-0EDD0284E1C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30" name="Freeform 27">
              <a:extLst>
                <a:ext uri="{FF2B5EF4-FFF2-40B4-BE49-F238E27FC236}">
                  <a16:creationId xmlns:a16="http://schemas.microsoft.com/office/drawing/2014/main" id="{57A166C6-14F5-9148-A67B-4988D18FB3F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31" name="Freeform 28">
              <a:extLst>
                <a:ext uri="{FF2B5EF4-FFF2-40B4-BE49-F238E27FC236}">
                  <a16:creationId xmlns:a16="http://schemas.microsoft.com/office/drawing/2014/main" id="{9783595A-DB2A-1C4A-A96E-682098D15C4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4260563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1.5.3 - Cover O BlueGreen3">
    <p:spTree>
      <p:nvGrpSpPr>
        <p:cNvPr id="1" name=""/>
        <p:cNvGrpSpPr/>
        <p:nvPr/>
      </p:nvGrpSpPr>
      <p:grpSpPr>
        <a:xfrm>
          <a:off x="0" y="0"/>
          <a:ext cx="0" cy="0"/>
          <a:chOff x="0" y="0"/>
          <a:chExt cx="0" cy="0"/>
        </a:xfrm>
      </p:grpSpPr>
      <p:pic>
        <p:nvPicPr>
          <p:cNvPr id="10" name="Picture 9" descr="A child blowing a blue pinwheel in a field&#10;&#10;Description automatically generated with medium confidence">
            <a:extLst>
              <a:ext uri="{FF2B5EF4-FFF2-40B4-BE49-F238E27FC236}">
                <a16:creationId xmlns:a16="http://schemas.microsoft.com/office/drawing/2014/main" id="{CF075ABC-80CB-D345-B45F-CED7CB00DA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708"/>
          <a:stretch/>
        </p:blipFill>
        <p:spPr>
          <a:xfrm>
            <a:off x="0" y="-1"/>
            <a:ext cx="9144000" cy="5232904"/>
          </a:xfrm>
          <a:prstGeom prst="rect">
            <a:avLst/>
          </a:prstGeom>
        </p:spPr>
      </p:pic>
      <p:sp>
        <p:nvSpPr>
          <p:cNvPr id="26" name="Rectangle 25">
            <a:extLst>
              <a:ext uri="{FF2B5EF4-FFF2-40B4-BE49-F238E27FC236}">
                <a16:creationId xmlns:a16="http://schemas.microsoft.com/office/drawing/2014/main" id="{84B36C8B-D0FA-714E-AB7E-E776D15B6A26}"/>
              </a:ext>
            </a:extLst>
          </p:cNvPr>
          <p:cNvSpPr/>
          <p:nvPr userDrawn="1"/>
        </p:nvSpPr>
        <p:spPr>
          <a:xfrm>
            <a:off x="0" y="0"/>
            <a:ext cx="9144000" cy="5143500"/>
          </a:xfrm>
          <a:prstGeom prst="rect">
            <a:avLst/>
          </a:prstGeom>
          <a:gradFill flip="none" rotWithShape="1">
            <a:gsLst>
              <a:gs pos="25000">
                <a:srgbClr val="001135">
                  <a:alpha val="23279"/>
                </a:srgbClr>
              </a:gs>
              <a:gs pos="99000">
                <a:srgbClr val="001135">
                  <a:alpha val="0"/>
                </a:srgb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a:p>
        </p:txBody>
      </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24" name="Picture 23" descr="A child blowing a blue pinwheel&#10;&#10;Description automatically generated with medium confidence">
            <a:extLst>
              <a:ext uri="{FF2B5EF4-FFF2-40B4-BE49-F238E27FC236}">
                <a16:creationId xmlns:a16="http://schemas.microsoft.com/office/drawing/2014/main" id="{1FB7C92B-E310-3F4B-AE98-84B40D052BD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2186" b="2359"/>
          <a:stretch/>
        </p:blipFill>
        <p:spPr>
          <a:xfrm>
            <a:off x="4421237" y="360718"/>
            <a:ext cx="4722764" cy="4872186"/>
          </a:xfrm>
          <a:prstGeom prst="rect">
            <a:avLst/>
          </a:prstGeom>
        </p:spPr>
      </p:pic>
      <p:sp>
        <p:nvSpPr>
          <p:cNvPr id="30" name="TextBox 29">
            <a:extLst>
              <a:ext uri="{FF2B5EF4-FFF2-40B4-BE49-F238E27FC236}">
                <a16:creationId xmlns:a16="http://schemas.microsoft.com/office/drawing/2014/main" id="{CDD66BD7-F2A6-574A-B718-643B23EBDBD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31" name="Slide Number Placeholder 5">
            <a:extLst>
              <a:ext uri="{FF2B5EF4-FFF2-40B4-BE49-F238E27FC236}">
                <a16:creationId xmlns:a16="http://schemas.microsoft.com/office/drawing/2014/main" id="{3A37C5B7-2C4A-B642-81B1-F83B1BCF3E9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20" name="Graphic 3">
            <a:extLst>
              <a:ext uri="{FF2B5EF4-FFF2-40B4-BE49-F238E27FC236}">
                <a16:creationId xmlns:a16="http://schemas.microsoft.com/office/drawing/2014/main" id="{8F720B3C-4D03-A54A-85F0-8A874E51BD4A}"/>
              </a:ext>
            </a:extLst>
          </p:cNvPr>
          <p:cNvGrpSpPr/>
          <p:nvPr userDrawn="1"/>
        </p:nvGrpSpPr>
        <p:grpSpPr>
          <a:xfrm>
            <a:off x="445383" y="404642"/>
            <a:ext cx="1363492" cy="307063"/>
            <a:chOff x="469958" y="1647414"/>
            <a:chExt cx="8205029" cy="1847802"/>
          </a:xfrm>
          <a:solidFill>
            <a:schemeClr val="bg1"/>
          </a:solidFill>
        </p:grpSpPr>
        <p:sp>
          <p:nvSpPr>
            <p:cNvPr id="21" name="Freeform 24">
              <a:extLst>
                <a:ext uri="{FF2B5EF4-FFF2-40B4-BE49-F238E27FC236}">
                  <a16:creationId xmlns:a16="http://schemas.microsoft.com/office/drawing/2014/main" id="{CBA17C4C-F41C-4E4C-AAFA-245D0035032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22" name="Freeform 25">
              <a:extLst>
                <a:ext uri="{FF2B5EF4-FFF2-40B4-BE49-F238E27FC236}">
                  <a16:creationId xmlns:a16="http://schemas.microsoft.com/office/drawing/2014/main" id="{78DC8D3E-6FF8-E64F-A26C-F7B6AF822F4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32" name="Freeform 26">
              <a:extLst>
                <a:ext uri="{FF2B5EF4-FFF2-40B4-BE49-F238E27FC236}">
                  <a16:creationId xmlns:a16="http://schemas.microsoft.com/office/drawing/2014/main" id="{2DF67905-0DF6-DA4F-9F1B-741FDFA7B4D8}"/>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33" name="Freeform 27">
              <a:extLst>
                <a:ext uri="{FF2B5EF4-FFF2-40B4-BE49-F238E27FC236}">
                  <a16:creationId xmlns:a16="http://schemas.microsoft.com/office/drawing/2014/main" id="{013B7951-5EBF-7045-A4F6-848F2C7D87E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34" name="Freeform 28">
              <a:extLst>
                <a:ext uri="{FF2B5EF4-FFF2-40B4-BE49-F238E27FC236}">
                  <a16:creationId xmlns:a16="http://schemas.microsoft.com/office/drawing/2014/main" id="{657F609C-D6CE-B64F-8D01-5A575C76BD34}"/>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3761731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1.5.2 - Cover O BluePink1">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5" name="Title 4">
            <a:extLst>
              <a:ext uri="{FF2B5EF4-FFF2-40B4-BE49-F238E27FC236}">
                <a16:creationId xmlns:a16="http://schemas.microsoft.com/office/drawing/2014/main" id="{60E8CE17-B2D0-B92F-1A9F-C72280B6E9A3}"/>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6" name="Text Placeholder 3">
            <a:extLst>
              <a:ext uri="{FF2B5EF4-FFF2-40B4-BE49-F238E27FC236}">
                <a16:creationId xmlns:a16="http://schemas.microsoft.com/office/drawing/2014/main" id="{6BEF90E0-A2AA-9B05-58FB-3D4109E95C42}"/>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4" name="Picture 3" descr="A person with purple hair and binoculars&#10;&#10;Description automatically generated with low confidence">
            <a:extLst>
              <a:ext uri="{FF2B5EF4-FFF2-40B4-BE49-F238E27FC236}">
                <a16:creationId xmlns:a16="http://schemas.microsoft.com/office/drawing/2014/main" id="{B47DAFD2-A704-604F-A374-06DD78441AD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644060" y="156951"/>
            <a:ext cx="4982653" cy="4982653"/>
          </a:xfrm>
          <a:prstGeom prst="rect">
            <a:avLst/>
          </a:prstGeom>
        </p:spPr>
      </p:pic>
      <p:sp>
        <p:nvSpPr>
          <p:cNvPr id="17" name="TextBox 16">
            <a:extLst>
              <a:ext uri="{FF2B5EF4-FFF2-40B4-BE49-F238E27FC236}">
                <a16:creationId xmlns:a16="http://schemas.microsoft.com/office/drawing/2014/main" id="{871FAD7D-E0B1-E249-86F4-309C44FFF38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8" name="Slide Number Placeholder 5">
            <a:extLst>
              <a:ext uri="{FF2B5EF4-FFF2-40B4-BE49-F238E27FC236}">
                <a16:creationId xmlns:a16="http://schemas.microsoft.com/office/drawing/2014/main" id="{AF99DB93-14F7-C841-9D10-7E49FA8DF0A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9" name="Graphic 3">
            <a:extLst>
              <a:ext uri="{FF2B5EF4-FFF2-40B4-BE49-F238E27FC236}">
                <a16:creationId xmlns:a16="http://schemas.microsoft.com/office/drawing/2014/main" id="{9F237347-E9AD-0D42-A6E7-0C3A6B52696E}"/>
              </a:ext>
            </a:extLst>
          </p:cNvPr>
          <p:cNvGrpSpPr/>
          <p:nvPr userDrawn="1"/>
        </p:nvGrpSpPr>
        <p:grpSpPr>
          <a:xfrm>
            <a:off x="445383" y="404642"/>
            <a:ext cx="1363492" cy="307063"/>
            <a:chOff x="469958" y="1647414"/>
            <a:chExt cx="8205029" cy="1847802"/>
          </a:xfrm>
          <a:solidFill>
            <a:schemeClr val="bg1"/>
          </a:solidFill>
        </p:grpSpPr>
        <p:sp>
          <p:nvSpPr>
            <p:cNvPr id="20" name="Freeform 24">
              <a:extLst>
                <a:ext uri="{FF2B5EF4-FFF2-40B4-BE49-F238E27FC236}">
                  <a16:creationId xmlns:a16="http://schemas.microsoft.com/office/drawing/2014/main" id="{CC38DA99-4B9B-D445-B028-1946E18AC41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21" name="Freeform 25">
              <a:extLst>
                <a:ext uri="{FF2B5EF4-FFF2-40B4-BE49-F238E27FC236}">
                  <a16:creationId xmlns:a16="http://schemas.microsoft.com/office/drawing/2014/main" id="{EA7A5B10-B9B0-B243-B139-E73C340C907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2" name="Freeform 26">
              <a:extLst>
                <a:ext uri="{FF2B5EF4-FFF2-40B4-BE49-F238E27FC236}">
                  <a16:creationId xmlns:a16="http://schemas.microsoft.com/office/drawing/2014/main" id="{96F1A26A-006F-C34D-AD38-5F69996893EC}"/>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3" name="Freeform 27">
              <a:extLst>
                <a:ext uri="{FF2B5EF4-FFF2-40B4-BE49-F238E27FC236}">
                  <a16:creationId xmlns:a16="http://schemas.microsoft.com/office/drawing/2014/main" id="{3128A82B-DAC9-7B4B-8A78-05074FB5A79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4" name="Freeform 28">
              <a:extLst>
                <a:ext uri="{FF2B5EF4-FFF2-40B4-BE49-F238E27FC236}">
                  <a16:creationId xmlns:a16="http://schemas.microsoft.com/office/drawing/2014/main" id="{C4C09F14-A671-C146-97E0-F044C7E174D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908499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1.5.2 - Cover O BluePink1">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5" name="Title 4">
            <a:extLst>
              <a:ext uri="{FF2B5EF4-FFF2-40B4-BE49-F238E27FC236}">
                <a16:creationId xmlns:a16="http://schemas.microsoft.com/office/drawing/2014/main" id="{60E8CE17-B2D0-B92F-1A9F-C72280B6E9A3}"/>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6" name="Text Placeholder 3">
            <a:extLst>
              <a:ext uri="{FF2B5EF4-FFF2-40B4-BE49-F238E27FC236}">
                <a16:creationId xmlns:a16="http://schemas.microsoft.com/office/drawing/2014/main" id="{6BEF90E0-A2AA-9B05-58FB-3D4109E95C42}"/>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5" name="Picture 4" descr="A hummingbird sucking a flower&#10;&#10;Description automatically generated with low confidence">
            <a:extLst>
              <a:ext uri="{FF2B5EF4-FFF2-40B4-BE49-F238E27FC236}">
                <a16:creationId xmlns:a16="http://schemas.microsoft.com/office/drawing/2014/main" id="{71A9C1DC-5C72-F145-A622-C1D9F31A077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906173" y="0"/>
            <a:ext cx="4271974" cy="5143500"/>
          </a:xfrm>
          <a:prstGeom prst="rect">
            <a:avLst/>
          </a:prstGeom>
        </p:spPr>
      </p:pic>
      <p:sp>
        <p:nvSpPr>
          <p:cNvPr id="26" name="TextBox 25">
            <a:extLst>
              <a:ext uri="{FF2B5EF4-FFF2-40B4-BE49-F238E27FC236}">
                <a16:creationId xmlns:a16="http://schemas.microsoft.com/office/drawing/2014/main" id="{8B4E8479-A6DB-FC43-8048-C70A441311D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7" name="Slide Number Placeholder 5">
            <a:extLst>
              <a:ext uri="{FF2B5EF4-FFF2-40B4-BE49-F238E27FC236}">
                <a16:creationId xmlns:a16="http://schemas.microsoft.com/office/drawing/2014/main" id="{187CCFF4-4F27-284F-9FF9-E04B23946F5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20" name="Graphic 3">
            <a:extLst>
              <a:ext uri="{FF2B5EF4-FFF2-40B4-BE49-F238E27FC236}">
                <a16:creationId xmlns:a16="http://schemas.microsoft.com/office/drawing/2014/main" id="{231E980F-2BA0-1C47-A90B-75A052D1808A}"/>
              </a:ext>
            </a:extLst>
          </p:cNvPr>
          <p:cNvGrpSpPr/>
          <p:nvPr userDrawn="1"/>
        </p:nvGrpSpPr>
        <p:grpSpPr>
          <a:xfrm>
            <a:off x="445383" y="404642"/>
            <a:ext cx="1363492" cy="307063"/>
            <a:chOff x="469958" y="1647414"/>
            <a:chExt cx="8205029" cy="1847802"/>
          </a:xfrm>
          <a:solidFill>
            <a:schemeClr val="bg1"/>
          </a:solidFill>
        </p:grpSpPr>
        <p:sp>
          <p:nvSpPr>
            <p:cNvPr id="21" name="Freeform 24">
              <a:extLst>
                <a:ext uri="{FF2B5EF4-FFF2-40B4-BE49-F238E27FC236}">
                  <a16:creationId xmlns:a16="http://schemas.microsoft.com/office/drawing/2014/main" id="{912EAD4E-515E-F14C-995F-40C7C391FFF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22" name="Freeform 25">
              <a:extLst>
                <a:ext uri="{FF2B5EF4-FFF2-40B4-BE49-F238E27FC236}">
                  <a16:creationId xmlns:a16="http://schemas.microsoft.com/office/drawing/2014/main" id="{8E99993C-2EB0-FF43-8D9F-FEE4A329620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8" name="Freeform 26">
              <a:extLst>
                <a:ext uri="{FF2B5EF4-FFF2-40B4-BE49-F238E27FC236}">
                  <a16:creationId xmlns:a16="http://schemas.microsoft.com/office/drawing/2014/main" id="{52DC9728-E01E-7643-8493-1736A11788C3}"/>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9" name="Freeform 27">
              <a:extLst>
                <a:ext uri="{FF2B5EF4-FFF2-40B4-BE49-F238E27FC236}">
                  <a16:creationId xmlns:a16="http://schemas.microsoft.com/office/drawing/2014/main" id="{2FEAD2BC-FC9A-B04E-8390-4EEE0FE2FE8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30" name="Freeform 28">
              <a:extLst>
                <a:ext uri="{FF2B5EF4-FFF2-40B4-BE49-F238E27FC236}">
                  <a16:creationId xmlns:a16="http://schemas.microsoft.com/office/drawing/2014/main" id="{41FF5040-5688-0441-A3AC-C64FBBEE6E0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979781224"/>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49"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1.6.3 - Cover K Pink1">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6" name="Picture 5">
            <a:extLst>
              <a:ext uri="{FF2B5EF4-FFF2-40B4-BE49-F238E27FC236}">
                <a16:creationId xmlns:a16="http://schemas.microsoft.com/office/drawing/2014/main" id="{D81DA6A6-57A2-0645-839B-35C9ACC759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941" y="4796"/>
            <a:ext cx="9144000" cy="51435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16" name="Graphic 15">
            <a:extLst>
              <a:ext uri="{FF2B5EF4-FFF2-40B4-BE49-F238E27FC236}">
                <a16:creationId xmlns:a16="http://schemas.microsoft.com/office/drawing/2014/main" id="{0A1C4719-22AD-9C44-A328-BA377D6DA90B}"/>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25034"/>
          <a:stretch/>
        </p:blipFill>
        <p:spPr>
          <a:xfrm>
            <a:off x="5126775" y="-4796"/>
            <a:ext cx="4017225" cy="5144400"/>
          </a:xfrm>
          <a:prstGeom prst="rect">
            <a:avLst/>
          </a:prstGeom>
        </p:spPr>
      </p:pic>
      <p:pic>
        <p:nvPicPr>
          <p:cNvPr id="28" name="Picture 27">
            <a:extLst>
              <a:ext uri="{FF2B5EF4-FFF2-40B4-BE49-F238E27FC236}">
                <a16:creationId xmlns:a16="http://schemas.microsoft.com/office/drawing/2014/main" id="{CDAD5B75-9121-5142-B08C-181AEE8A27D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68941" y="2124634"/>
            <a:ext cx="9144000" cy="3014519"/>
          </a:xfrm>
          <a:prstGeom prst="rect">
            <a:avLst/>
          </a:prstGeom>
        </p:spPr>
      </p:pic>
      <p:sp>
        <p:nvSpPr>
          <p:cNvPr id="21" name="TextBox 20">
            <a:extLst>
              <a:ext uri="{FF2B5EF4-FFF2-40B4-BE49-F238E27FC236}">
                <a16:creationId xmlns:a16="http://schemas.microsoft.com/office/drawing/2014/main" id="{A6C6812A-8F33-5F45-B135-0495C39DC5C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2" name="Slide Number Placeholder 5">
            <a:extLst>
              <a:ext uri="{FF2B5EF4-FFF2-40B4-BE49-F238E27FC236}">
                <a16:creationId xmlns:a16="http://schemas.microsoft.com/office/drawing/2014/main" id="{FC2FF3FB-020F-A744-8197-2B3CCA5BDFF2}"/>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7" name="Graphic 3">
            <a:extLst>
              <a:ext uri="{FF2B5EF4-FFF2-40B4-BE49-F238E27FC236}">
                <a16:creationId xmlns:a16="http://schemas.microsoft.com/office/drawing/2014/main" id="{DF88ECC4-75F0-1A47-A973-E8770E895AA2}"/>
              </a:ext>
            </a:extLst>
          </p:cNvPr>
          <p:cNvGrpSpPr/>
          <p:nvPr userDrawn="1"/>
        </p:nvGrpSpPr>
        <p:grpSpPr>
          <a:xfrm>
            <a:off x="445383" y="404642"/>
            <a:ext cx="1363492" cy="307063"/>
            <a:chOff x="469958" y="1647414"/>
            <a:chExt cx="8205029" cy="1847802"/>
          </a:xfrm>
          <a:solidFill>
            <a:schemeClr val="bg1"/>
          </a:solidFill>
        </p:grpSpPr>
        <p:sp>
          <p:nvSpPr>
            <p:cNvPr id="18" name="Freeform 24">
              <a:extLst>
                <a:ext uri="{FF2B5EF4-FFF2-40B4-BE49-F238E27FC236}">
                  <a16:creationId xmlns:a16="http://schemas.microsoft.com/office/drawing/2014/main" id="{3D6601E9-A898-9B4E-A690-854499C018A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9" name="Freeform 25">
              <a:extLst>
                <a:ext uri="{FF2B5EF4-FFF2-40B4-BE49-F238E27FC236}">
                  <a16:creationId xmlns:a16="http://schemas.microsoft.com/office/drawing/2014/main" id="{00F86C66-7505-CE44-8C68-CF10BF4B49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0" name="Freeform 26">
              <a:extLst>
                <a:ext uri="{FF2B5EF4-FFF2-40B4-BE49-F238E27FC236}">
                  <a16:creationId xmlns:a16="http://schemas.microsoft.com/office/drawing/2014/main" id="{90356F4B-2935-3748-9B0D-2A4572127CF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5" name="Freeform 27">
              <a:extLst>
                <a:ext uri="{FF2B5EF4-FFF2-40B4-BE49-F238E27FC236}">
                  <a16:creationId xmlns:a16="http://schemas.microsoft.com/office/drawing/2014/main" id="{B81EB655-54B0-AB41-8FF1-2C0A17586DC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6" name="Freeform 28">
              <a:extLst>
                <a:ext uri="{FF2B5EF4-FFF2-40B4-BE49-F238E27FC236}">
                  <a16:creationId xmlns:a16="http://schemas.microsoft.com/office/drawing/2014/main" id="{F48B90CA-8343-0443-BBFD-0DC79CF3153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259856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4 - 1xBulle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47F7DE4D-CF25-BF4F-9785-00F1B6D37F7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1" name="Slide Number Placeholder 5">
            <a:extLst>
              <a:ext uri="{FF2B5EF4-FFF2-40B4-BE49-F238E27FC236}">
                <a16:creationId xmlns:a16="http://schemas.microsoft.com/office/drawing/2014/main" id="{68E8050D-00A2-9242-B2F7-0B2A533B5D32}"/>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297C4A5D-743B-6048-8F0B-6B10B916AB15}"/>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4" name="Footer Placeholder 2">
            <a:extLst>
              <a:ext uri="{FF2B5EF4-FFF2-40B4-BE49-F238E27FC236}">
                <a16:creationId xmlns:a16="http://schemas.microsoft.com/office/drawing/2014/main" id="{BA9DD812-FAD6-A244-986F-050C83A183BD}"/>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35810542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1.6.3 - Cover K Pink1">
    <p:spTree>
      <p:nvGrpSpPr>
        <p:cNvPr id="1" name=""/>
        <p:cNvGrpSpPr/>
        <p:nvPr/>
      </p:nvGrpSpPr>
      <p:grpSpPr>
        <a:xfrm>
          <a:off x="0" y="0"/>
          <a:ext cx="0" cy="0"/>
          <a:chOff x="0" y="0"/>
          <a:chExt cx="0" cy="0"/>
        </a:xfrm>
      </p:grpSpPr>
      <p:pic>
        <p:nvPicPr>
          <p:cNvPr id="8" name="Picture 7" descr="A blue and white gradient&#10;&#10;Description automatically generated">
            <a:extLst>
              <a:ext uri="{FF2B5EF4-FFF2-40B4-BE49-F238E27FC236}">
                <a16:creationId xmlns:a16="http://schemas.microsoft.com/office/drawing/2014/main" id="{371111AC-FAAE-CF48-B725-861E1606A0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16" name="Graphic 15">
            <a:extLst>
              <a:ext uri="{FF2B5EF4-FFF2-40B4-BE49-F238E27FC236}">
                <a16:creationId xmlns:a16="http://schemas.microsoft.com/office/drawing/2014/main" id="{0A1C4719-22AD-9C44-A328-BA377D6DA90B}"/>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grpSp>
        <p:nvGrpSpPr>
          <p:cNvPr id="29" name="Graphic 3">
            <a:extLst>
              <a:ext uri="{FF2B5EF4-FFF2-40B4-BE49-F238E27FC236}">
                <a16:creationId xmlns:a16="http://schemas.microsoft.com/office/drawing/2014/main" id="{F5F13A0E-B600-B84B-B048-223F32236983}"/>
              </a:ext>
            </a:extLst>
          </p:cNvPr>
          <p:cNvGrpSpPr/>
          <p:nvPr userDrawn="1"/>
        </p:nvGrpSpPr>
        <p:grpSpPr>
          <a:xfrm>
            <a:off x="445383" y="404642"/>
            <a:ext cx="1363492" cy="307063"/>
            <a:chOff x="469958" y="1647414"/>
            <a:chExt cx="8205029" cy="1847802"/>
          </a:xfrm>
          <a:solidFill>
            <a:schemeClr val="bg1"/>
          </a:solidFill>
        </p:grpSpPr>
        <p:sp>
          <p:nvSpPr>
            <p:cNvPr id="30" name="Freeform 24">
              <a:extLst>
                <a:ext uri="{FF2B5EF4-FFF2-40B4-BE49-F238E27FC236}">
                  <a16:creationId xmlns:a16="http://schemas.microsoft.com/office/drawing/2014/main" id="{280CCA7F-BFBE-C14B-91BC-833FF25CED8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31" name="Freeform 25">
              <a:extLst>
                <a:ext uri="{FF2B5EF4-FFF2-40B4-BE49-F238E27FC236}">
                  <a16:creationId xmlns:a16="http://schemas.microsoft.com/office/drawing/2014/main" id="{88BECCAB-B366-6F47-B5ED-56E1D8DD15E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32" name="Freeform 26">
              <a:extLst>
                <a:ext uri="{FF2B5EF4-FFF2-40B4-BE49-F238E27FC236}">
                  <a16:creationId xmlns:a16="http://schemas.microsoft.com/office/drawing/2014/main" id="{5B211D39-FC03-CE48-9E75-19A1D349E4E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33" name="Freeform 27">
              <a:extLst>
                <a:ext uri="{FF2B5EF4-FFF2-40B4-BE49-F238E27FC236}">
                  <a16:creationId xmlns:a16="http://schemas.microsoft.com/office/drawing/2014/main" id="{76DF0B59-98D9-D244-9B5A-953D2BA2F67F}"/>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34" name="Freeform 28">
              <a:extLst>
                <a:ext uri="{FF2B5EF4-FFF2-40B4-BE49-F238E27FC236}">
                  <a16:creationId xmlns:a16="http://schemas.microsoft.com/office/drawing/2014/main" id="{7D5049A1-9815-B347-92C3-0863F890860C}"/>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5" name="Picture 4" descr="A close up of a butterfly wing&#10;&#10;Description automatically generated">
            <a:extLst>
              <a:ext uri="{FF2B5EF4-FFF2-40B4-BE49-F238E27FC236}">
                <a16:creationId xmlns:a16="http://schemas.microsoft.com/office/drawing/2014/main" id="{40504179-9FCA-A147-9BF1-433B78F6C6C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flipH="1">
            <a:off x="5223934" y="0"/>
            <a:ext cx="3922346" cy="5238750"/>
          </a:xfrm>
          <a:prstGeom prst="rect">
            <a:avLst/>
          </a:prstGeom>
        </p:spPr>
      </p:pic>
      <p:sp>
        <p:nvSpPr>
          <p:cNvPr id="17" name="TextBox 16">
            <a:extLst>
              <a:ext uri="{FF2B5EF4-FFF2-40B4-BE49-F238E27FC236}">
                <a16:creationId xmlns:a16="http://schemas.microsoft.com/office/drawing/2014/main" id="{33CFCD10-99D7-D342-9D6C-FBE32B3EFE3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58E8F453-4FF4-AC46-815D-D9ACD818C43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4918843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_1.6.3 - Cover K Pink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71111AC-FAAE-CF48-B725-861E1606A0A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16" name="Graphic 15">
            <a:extLst>
              <a:ext uri="{FF2B5EF4-FFF2-40B4-BE49-F238E27FC236}">
                <a16:creationId xmlns:a16="http://schemas.microsoft.com/office/drawing/2014/main" id="{0A1C4719-22AD-9C44-A328-BA377D6DA90B}"/>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pic>
        <p:nvPicPr>
          <p:cNvPr id="5" name="Picture 4">
            <a:extLst>
              <a:ext uri="{FF2B5EF4-FFF2-40B4-BE49-F238E27FC236}">
                <a16:creationId xmlns:a16="http://schemas.microsoft.com/office/drawing/2014/main" id="{40504179-9FCA-A147-9BF1-433B78F6C6C9}"/>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flipH="1">
            <a:off x="4928840" y="156600"/>
            <a:ext cx="4217439" cy="4986900"/>
          </a:xfrm>
          <a:prstGeom prst="rect">
            <a:avLst/>
          </a:prstGeom>
        </p:spPr>
      </p:pic>
      <p:sp>
        <p:nvSpPr>
          <p:cNvPr id="17" name="TextBox 16">
            <a:extLst>
              <a:ext uri="{FF2B5EF4-FFF2-40B4-BE49-F238E27FC236}">
                <a16:creationId xmlns:a16="http://schemas.microsoft.com/office/drawing/2014/main" id="{C812CE8D-4325-0E4C-91B8-B749B397B94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16E1C83C-316A-6848-BD95-7EFE830C6FF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5" name="Graphic 3">
            <a:extLst>
              <a:ext uri="{FF2B5EF4-FFF2-40B4-BE49-F238E27FC236}">
                <a16:creationId xmlns:a16="http://schemas.microsoft.com/office/drawing/2014/main" id="{5055224F-3CF5-2D42-BF1E-B7F1D2D850C3}"/>
              </a:ext>
            </a:extLst>
          </p:cNvPr>
          <p:cNvGrpSpPr/>
          <p:nvPr userDrawn="1"/>
        </p:nvGrpSpPr>
        <p:grpSpPr>
          <a:xfrm>
            <a:off x="445383" y="404642"/>
            <a:ext cx="1363492" cy="307063"/>
            <a:chOff x="469958" y="1647414"/>
            <a:chExt cx="8205029" cy="1847802"/>
          </a:xfrm>
          <a:solidFill>
            <a:schemeClr val="bg1"/>
          </a:solidFill>
        </p:grpSpPr>
        <p:sp>
          <p:nvSpPr>
            <p:cNvPr id="18" name="Freeform 24">
              <a:extLst>
                <a:ext uri="{FF2B5EF4-FFF2-40B4-BE49-F238E27FC236}">
                  <a16:creationId xmlns:a16="http://schemas.microsoft.com/office/drawing/2014/main" id="{0F1E4F65-9FF6-B242-9221-9FFE153FBDD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9" name="Freeform 25">
              <a:extLst>
                <a:ext uri="{FF2B5EF4-FFF2-40B4-BE49-F238E27FC236}">
                  <a16:creationId xmlns:a16="http://schemas.microsoft.com/office/drawing/2014/main" id="{7E6E2888-AEEE-0B44-A349-E10D7462263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0" name="Freeform 26">
              <a:extLst>
                <a:ext uri="{FF2B5EF4-FFF2-40B4-BE49-F238E27FC236}">
                  <a16:creationId xmlns:a16="http://schemas.microsoft.com/office/drawing/2014/main" id="{9E27939D-D927-8D43-980A-A2B9CBF62DC3}"/>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2" name="Freeform 27">
              <a:extLst>
                <a:ext uri="{FF2B5EF4-FFF2-40B4-BE49-F238E27FC236}">
                  <a16:creationId xmlns:a16="http://schemas.microsoft.com/office/drawing/2014/main" id="{3E481BCC-1C20-7347-9B12-E7CB1ED1569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5" name="Freeform 28">
              <a:extLst>
                <a:ext uri="{FF2B5EF4-FFF2-40B4-BE49-F238E27FC236}">
                  <a16:creationId xmlns:a16="http://schemas.microsoft.com/office/drawing/2014/main" id="{16467376-E412-F34F-B641-9BC31978B18B}"/>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40679502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1.6.3 - Cover K Pink1">
    <p:spTree>
      <p:nvGrpSpPr>
        <p:cNvPr id="1" name=""/>
        <p:cNvGrpSpPr/>
        <p:nvPr/>
      </p:nvGrpSpPr>
      <p:grpSpPr>
        <a:xfrm>
          <a:off x="0" y="0"/>
          <a:ext cx="0" cy="0"/>
          <a:chOff x="0" y="0"/>
          <a:chExt cx="0" cy="0"/>
        </a:xfrm>
      </p:grpSpPr>
      <p:pic>
        <p:nvPicPr>
          <p:cNvPr id="4" name="Picture 3" descr="A person holding a phone&#10;&#10;Description automatically generated">
            <a:extLst>
              <a:ext uri="{FF2B5EF4-FFF2-40B4-BE49-F238E27FC236}">
                <a16:creationId xmlns:a16="http://schemas.microsoft.com/office/drawing/2014/main" id="{24F6B732-79F0-164B-AC8C-0119E4825D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5" name="Rectangle 14">
            <a:extLst>
              <a:ext uri="{FF2B5EF4-FFF2-40B4-BE49-F238E27FC236}">
                <a16:creationId xmlns:a16="http://schemas.microsoft.com/office/drawing/2014/main" id="{4FBA0705-5796-2640-8D44-7D71F652424B}"/>
              </a:ext>
            </a:extLst>
          </p:cNvPr>
          <p:cNvSpPr/>
          <p:nvPr userDrawn="1"/>
        </p:nvSpPr>
        <p:spPr>
          <a:xfrm>
            <a:off x="736" y="0"/>
            <a:ext cx="4145507" cy="5143500"/>
          </a:xfrm>
          <a:prstGeom prst="rect">
            <a:avLst/>
          </a:prstGeom>
          <a:gradFill>
            <a:gsLst>
              <a:gs pos="3000">
                <a:schemeClr val="accent3">
                  <a:lumMod val="75000"/>
                </a:schemeClr>
              </a:gs>
              <a:gs pos="100000">
                <a:schemeClr val="accent1">
                  <a:lumMod val="45000"/>
                  <a:lumOff val="55000"/>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Aft>
                <a:spcPts val="0"/>
              </a:spcAft>
              <a:buSzPct val="100000"/>
            </a:pPr>
            <a:endParaRPr lang="en-HU" sz="900">
              <a:solidFill>
                <a:schemeClr val="bg1"/>
              </a:solidFill>
            </a:endParaRPr>
          </a:p>
        </p:txBody>
      </p:sp>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6" name="TextBox 15">
            <a:extLst>
              <a:ext uri="{FF2B5EF4-FFF2-40B4-BE49-F238E27FC236}">
                <a16:creationId xmlns:a16="http://schemas.microsoft.com/office/drawing/2014/main" id="{7CFD0E70-9B4C-BD4B-AFD7-C47F5EC7D61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7" name="Slide Number Placeholder 5">
            <a:extLst>
              <a:ext uri="{FF2B5EF4-FFF2-40B4-BE49-F238E27FC236}">
                <a16:creationId xmlns:a16="http://schemas.microsoft.com/office/drawing/2014/main" id="{6B5079C7-FC54-134B-BB3C-BC95818D006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4" name="Graphic 3">
            <a:extLst>
              <a:ext uri="{FF2B5EF4-FFF2-40B4-BE49-F238E27FC236}">
                <a16:creationId xmlns:a16="http://schemas.microsoft.com/office/drawing/2014/main" id="{0AF317F7-48F2-A647-946E-CA018DD3E794}"/>
              </a:ext>
            </a:extLst>
          </p:cNvPr>
          <p:cNvGrpSpPr/>
          <p:nvPr userDrawn="1"/>
        </p:nvGrpSpPr>
        <p:grpSpPr>
          <a:xfrm>
            <a:off x="445383" y="404642"/>
            <a:ext cx="1363492" cy="307063"/>
            <a:chOff x="469958" y="1647414"/>
            <a:chExt cx="8205029" cy="1847802"/>
          </a:xfrm>
          <a:solidFill>
            <a:schemeClr val="bg1"/>
          </a:solidFill>
        </p:grpSpPr>
        <p:sp>
          <p:nvSpPr>
            <p:cNvPr id="18" name="Freeform 24">
              <a:extLst>
                <a:ext uri="{FF2B5EF4-FFF2-40B4-BE49-F238E27FC236}">
                  <a16:creationId xmlns:a16="http://schemas.microsoft.com/office/drawing/2014/main" id="{1FE4756E-BF1B-A049-B3B4-7B25C5C0D17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9" name="Freeform 25">
              <a:extLst>
                <a:ext uri="{FF2B5EF4-FFF2-40B4-BE49-F238E27FC236}">
                  <a16:creationId xmlns:a16="http://schemas.microsoft.com/office/drawing/2014/main" id="{95FB6992-B82C-EA4E-A182-82F864E0805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0" name="Freeform 26">
              <a:extLst>
                <a:ext uri="{FF2B5EF4-FFF2-40B4-BE49-F238E27FC236}">
                  <a16:creationId xmlns:a16="http://schemas.microsoft.com/office/drawing/2014/main" id="{756BAEE4-CB48-E244-AB3B-3713C24FEC5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1" name="Freeform 27">
              <a:extLst>
                <a:ext uri="{FF2B5EF4-FFF2-40B4-BE49-F238E27FC236}">
                  <a16:creationId xmlns:a16="http://schemas.microsoft.com/office/drawing/2014/main" id="{6114D79E-0E2A-5C4C-8D45-580746839DC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2" name="Freeform 28">
              <a:extLst>
                <a:ext uri="{FF2B5EF4-FFF2-40B4-BE49-F238E27FC236}">
                  <a16:creationId xmlns:a16="http://schemas.microsoft.com/office/drawing/2014/main" id="{02BDDC20-B242-254D-9D0E-7FDE3CF7169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9837819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1.6.3 - Cover K Pink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4F6B732-79F0-164B-AC8C-0119E4825D6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15" name="Rectangle 14">
            <a:extLst>
              <a:ext uri="{FF2B5EF4-FFF2-40B4-BE49-F238E27FC236}">
                <a16:creationId xmlns:a16="http://schemas.microsoft.com/office/drawing/2014/main" id="{2E18DD39-4E7B-894D-B512-337C000ED721}"/>
              </a:ext>
            </a:extLst>
          </p:cNvPr>
          <p:cNvSpPr/>
          <p:nvPr userDrawn="1"/>
        </p:nvSpPr>
        <p:spPr>
          <a:xfrm>
            <a:off x="736" y="0"/>
            <a:ext cx="4145507" cy="5143500"/>
          </a:xfrm>
          <a:prstGeom prst="rect">
            <a:avLst/>
          </a:prstGeom>
          <a:gradFill>
            <a:gsLst>
              <a:gs pos="3000">
                <a:schemeClr val="accent3">
                  <a:lumMod val="75000"/>
                </a:schemeClr>
              </a:gs>
              <a:gs pos="100000">
                <a:schemeClr val="accent1">
                  <a:lumMod val="45000"/>
                  <a:lumOff val="55000"/>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Aft>
                <a:spcPts val="0"/>
              </a:spcAft>
              <a:buSzPct val="100000"/>
            </a:pPr>
            <a:endParaRPr lang="en-HU" sz="900">
              <a:solidFill>
                <a:schemeClr val="bg1"/>
              </a:solidFill>
            </a:endParaRPr>
          </a:p>
        </p:txBody>
      </p:sp>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6" name="TextBox 15">
            <a:extLst>
              <a:ext uri="{FF2B5EF4-FFF2-40B4-BE49-F238E27FC236}">
                <a16:creationId xmlns:a16="http://schemas.microsoft.com/office/drawing/2014/main" id="{6FE7A39E-832D-0D47-9358-25C21586D08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7" name="Slide Number Placeholder 5">
            <a:extLst>
              <a:ext uri="{FF2B5EF4-FFF2-40B4-BE49-F238E27FC236}">
                <a16:creationId xmlns:a16="http://schemas.microsoft.com/office/drawing/2014/main" id="{CA062D94-9D97-BB42-90D5-481078A6AE24}"/>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4" name="Graphic 3">
            <a:extLst>
              <a:ext uri="{FF2B5EF4-FFF2-40B4-BE49-F238E27FC236}">
                <a16:creationId xmlns:a16="http://schemas.microsoft.com/office/drawing/2014/main" id="{9D5DE752-7A7D-4940-B8A6-3CF6C70DC849}"/>
              </a:ext>
            </a:extLst>
          </p:cNvPr>
          <p:cNvGrpSpPr/>
          <p:nvPr userDrawn="1"/>
        </p:nvGrpSpPr>
        <p:grpSpPr>
          <a:xfrm>
            <a:off x="445383" y="404642"/>
            <a:ext cx="1363492" cy="307063"/>
            <a:chOff x="469958" y="1647414"/>
            <a:chExt cx="8205029" cy="1847802"/>
          </a:xfrm>
          <a:solidFill>
            <a:schemeClr val="bg1"/>
          </a:solidFill>
        </p:grpSpPr>
        <p:sp>
          <p:nvSpPr>
            <p:cNvPr id="18" name="Freeform 24">
              <a:extLst>
                <a:ext uri="{FF2B5EF4-FFF2-40B4-BE49-F238E27FC236}">
                  <a16:creationId xmlns:a16="http://schemas.microsoft.com/office/drawing/2014/main" id="{768E2466-65E6-7040-A254-711AC5BA3261}"/>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9" name="Freeform 25">
              <a:extLst>
                <a:ext uri="{FF2B5EF4-FFF2-40B4-BE49-F238E27FC236}">
                  <a16:creationId xmlns:a16="http://schemas.microsoft.com/office/drawing/2014/main" id="{57FCB2F6-931F-6347-A65A-5644CCA114C7}"/>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0" name="Freeform 26">
              <a:extLst>
                <a:ext uri="{FF2B5EF4-FFF2-40B4-BE49-F238E27FC236}">
                  <a16:creationId xmlns:a16="http://schemas.microsoft.com/office/drawing/2014/main" id="{164B977F-0C4B-C24F-A8E2-C413954FE49C}"/>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1" name="Freeform 27">
              <a:extLst>
                <a:ext uri="{FF2B5EF4-FFF2-40B4-BE49-F238E27FC236}">
                  <a16:creationId xmlns:a16="http://schemas.microsoft.com/office/drawing/2014/main" id="{5F4DCD17-DBEE-584F-B84A-2919CA1E4E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2" name="Freeform 28">
              <a:extLst>
                <a:ext uri="{FF2B5EF4-FFF2-40B4-BE49-F238E27FC236}">
                  <a16:creationId xmlns:a16="http://schemas.microsoft.com/office/drawing/2014/main" id="{E61628B7-2807-6D4C-877D-6CB95CF6A1C7}"/>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29447407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5.4 - Cover O White">
    <p:spTree>
      <p:nvGrpSpPr>
        <p:cNvPr id="1" name=""/>
        <p:cNvGrpSpPr/>
        <p:nvPr/>
      </p:nvGrpSpPr>
      <p:grpSpPr>
        <a:xfrm>
          <a:off x="0" y="0"/>
          <a:ext cx="0" cy="0"/>
          <a:chOff x="0" y="0"/>
          <a:chExt cx="0" cy="0"/>
        </a:xfrm>
      </p:grpSpPr>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7" name="Graphic 3">
            <a:extLst>
              <a:ext uri="{FF2B5EF4-FFF2-40B4-BE49-F238E27FC236}">
                <a16:creationId xmlns:a16="http://schemas.microsoft.com/office/drawing/2014/main" id="{57ADD6F0-8A1D-2465-892B-42BFF999186F}"/>
              </a:ext>
            </a:extLst>
          </p:cNvPr>
          <p:cNvGrpSpPr/>
          <p:nvPr userDrawn="1"/>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pic>
        <p:nvPicPr>
          <p:cNvPr id="20" name="Picture 19" descr="Circle&#10;&#10;Description automatically generated with medium confidence">
            <a:extLst>
              <a:ext uri="{FF2B5EF4-FFF2-40B4-BE49-F238E27FC236}">
                <a16:creationId xmlns:a16="http://schemas.microsoft.com/office/drawing/2014/main" id="{87D5AF06-6AF8-9002-BEDC-176CB57496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5084"/>
          <a:stretch/>
        </p:blipFill>
        <p:spPr>
          <a:xfrm>
            <a:off x="5126775" y="-4796"/>
            <a:ext cx="4017225" cy="5143500"/>
          </a:xfrm>
          <a:prstGeom prst="rect">
            <a:avLst/>
          </a:prstGeom>
        </p:spPr>
      </p:pic>
      <p:sp>
        <p:nvSpPr>
          <p:cNvPr id="16" name="TextBox 15">
            <a:extLst>
              <a:ext uri="{FF2B5EF4-FFF2-40B4-BE49-F238E27FC236}">
                <a16:creationId xmlns:a16="http://schemas.microsoft.com/office/drawing/2014/main" id="{8D94EDB0-D38F-0FE8-27C1-80BAE2455A1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9" name="Slide Number Placeholder 5">
            <a:extLst>
              <a:ext uri="{FF2B5EF4-FFF2-40B4-BE49-F238E27FC236}">
                <a16:creationId xmlns:a16="http://schemas.microsoft.com/office/drawing/2014/main" id="{EFAF1A61-3518-0ABC-1BC0-5990D5EF88D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266160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6.1 - Cover K Orange1">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7055828" y="2418218"/>
            <a:ext cx="1363492" cy="307063"/>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9" name="TextBox 18">
            <a:extLst>
              <a:ext uri="{FF2B5EF4-FFF2-40B4-BE49-F238E27FC236}">
                <a16:creationId xmlns:a16="http://schemas.microsoft.com/office/drawing/2014/main" id="{ECB2F272-AA21-C046-89B3-B1BACB9F1D5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3" name="Slide Number Placeholder 5">
            <a:extLst>
              <a:ext uri="{FF2B5EF4-FFF2-40B4-BE49-F238E27FC236}">
                <a16:creationId xmlns:a16="http://schemas.microsoft.com/office/drawing/2014/main" id="{7637C575-9810-F148-8282-9524D63B9B7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4655816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6.2 - Cover K BlueGreen4">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5C4391E8-E519-220E-82C7-E7E85659A4E4}"/>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F3E219A7-8ADF-6CBF-872C-AEF07B645E6D}"/>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7" name="Graphic 3">
            <a:extLst>
              <a:ext uri="{FF2B5EF4-FFF2-40B4-BE49-F238E27FC236}">
                <a16:creationId xmlns:a16="http://schemas.microsoft.com/office/drawing/2014/main" id="{47BEB086-B161-40ED-B2E3-DDF397278FA8}"/>
              </a:ext>
            </a:extLst>
          </p:cNvPr>
          <p:cNvGrpSpPr/>
          <p:nvPr userDrawn="1"/>
        </p:nvGrpSpPr>
        <p:grpSpPr>
          <a:xfrm>
            <a:off x="7055828" y="2418218"/>
            <a:ext cx="1363492" cy="307063"/>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6" name="TextBox 15">
            <a:extLst>
              <a:ext uri="{FF2B5EF4-FFF2-40B4-BE49-F238E27FC236}">
                <a16:creationId xmlns:a16="http://schemas.microsoft.com/office/drawing/2014/main" id="{541350BC-5264-6F4A-98C5-F9B7793474E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0" name="Slide Number Placeholder 5">
            <a:extLst>
              <a:ext uri="{FF2B5EF4-FFF2-40B4-BE49-F238E27FC236}">
                <a16:creationId xmlns:a16="http://schemas.microsoft.com/office/drawing/2014/main" id="{5D895780-2D8D-154B-BC8F-6B43B17EDDF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1894542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6.3 - Cover K Pink1">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8" name="Graphic 3">
            <a:extLst>
              <a:ext uri="{FF2B5EF4-FFF2-40B4-BE49-F238E27FC236}">
                <a16:creationId xmlns:a16="http://schemas.microsoft.com/office/drawing/2014/main" id="{02491239-1144-EB94-E007-F05D770D71DA}"/>
              </a:ext>
            </a:extLst>
          </p:cNvPr>
          <p:cNvGrpSpPr/>
          <p:nvPr userDrawn="1"/>
        </p:nvGrpSpPr>
        <p:grpSpPr>
          <a:xfrm>
            <a:off x="7055828" y="2418218"/>
            <a:ext cx="1363492" cy="307063"/>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6" name="TextBox 15">
            <a:extLst>
              <a:ext uri="{FF2B5EF4-FFF2-40B4-BE49-F238E27FC236}">
                <a16:creationId xmlns:a16="http://schemas.microsoft.com/office/drawing/2014/main" id="{B633C290-DF6F-EF4F-BB3B-94A431BDF98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7" name="Slide Number Placeholder 5">
            <a:extLst>
              <a:ext uri="{FF2B5EF4-FFF2-40B4-BE49-F238E27FC236}">
                <a16:creationId xmlns:a16="http://schemas.microsoft.com/office/drawing/2014/main" id="{F21DAC86-C3A2-4B4E-AA55-68C676F807E4}"/>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32955738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1.4.2 - Cover N PurpleBlue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A036052-A0E2-904D-A161-518C90D494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902"/>
            <a:ext cx="9144000" cy="5143500"/>
          </a:xfrm>
          <a:prstGeom prst="rect">
            <a:avLst/>
          </a:prstGeom>
        </p:spPr>
      </p:pic>
      <p:sp>
        <p:nvSpPr>
          <p:cNvPr id="20" name="TextBox 19">
            <a:extLst>
              <a:ext uri="{FF2B5EF4-FFF2-40B4-BE49-F238E27FC236}">
                <a16:creationId xmlns:a16="http://schemas.microsoft.com/office/drawing/2014/main" id="{77E65701-8704-DC44-7F06-7957F6D50DDE}"/>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B0CCF65E-F2C0-F179-6CEF-6926AE13A1A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5" name="Title 4">
            <a:extLst>
              <a:ext uri="{FF2B5EF4-FFF2-40B4-BE49-F238E27FC236}">
                <a16:creationId xmlns:a16="http://schemas.microsoft.com/office/drawing/2014/main" id="{54546C6C-6554-0842-AAAB-7705EA36B44A}"/>
              </a:ext>
            </a:extLst>
          </p:cNvPr>
          <p:cNvSpPr>
            <a:spLocks noGrp="1"/>
          </p:cNvSpPr>
          <p:nvPr>
            <p:ph type="title" hasCustomPrompt="1"/>
          </p:nvPr>
        </p:nvSpPr>
        <p:spPr>
          <a:xfrm>
            <a:off x="5292671" y="1292013"/>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6" name="Text Placeholder 3">
            <a:extLst>
              <a:ext uri="{FF2B5EF4-FFF2-40B4-BE49-F238E27FC236}">
                <a16:creationId xmlns:a16="http://schemas.microsoft.com/office/drawing/2014/main" id="{CB8510BF-5AFC-B741-B809-F66B1E9DC495}"/>
              </a:ext>
            </a:extLst>
          </p:cNvPr>
          <p:cNvSpPr>
            <a:spLocks noGrp="1"/>
          </p:cNvSpPr>
          <p:nvPr>
            <p:ph type="body" sz="quarter" idx="12" hasCustomPrompt="1"/>
          </p:nvPr>
        </p:nvSpPr>
        <p:spPr>
          <a:xfrm>
            <a:off x="5292671" y="2717050"/>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27" name="Graphic 3">
            <a:extLst>
              <a:ext uri="{FF2B5EF4-FFF2-40B4-BE49-F238E27FC236}">
                <a16:creationId xmlns:a16="http://schemas.microsoft.com/office/drawing/2014/main" id="{FD745D82-1B5E-D140-8857-BD1AB7165648}"/>
              </a:ext>
            </a:extLst>
          </p:cNvPr>
          <p:cNvGrpSpPr/>
          <p:nvPr userDrawn="1"/>
        </p:nvGrpSpPr>
        <p:grpSpPr>
          <a:xfrm>
            <a:off x="5263796" y="363206"/>
            <a:ext cx="1363492" cy="307063"/>
            <a:chOff x="469958" y="1647414"/>
            <a:chExt cx="8205029" cy="1847802"/>
          </a:xfrm>
          <a:solidFill>
            <a:schemeClr val="bg1"/>
          </a:solidFill>
        </p:grpSpPr>
        <p:sp>
          <p:nvSpPr>
            <p:cNvPr id="28" name="Freeform 33">
              <a:extLst>
                <a:ext uri="{FF2B5EF4-FFF2-40B4-BE49-F238E27FC236}">
                  <a16:creationId xmlns:a16="http://schemas.microsoft.com/office/drawing/2014/main" id="{1EB3E0ED-55BB-A142-8030-B4DEE14503C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9" name="Freeform 34">
              <a:extLst>
                <a:ext uri="{FF2B5EF4-FFF2-40B4-BE49-F238E27FC236}">
                  <a16:creationId xmlns:a16="http://schemas.microsoft.com/office/drawing/2014/main" id="{6DF8E6EF-72D3-874F-A2B0-6EC39CE052AC}"/>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30" name="Freeform 35">
              <a:extLst>
                <a:ext uri="{FF2B5EF4-FFF2-40B4-BE49-F238E27FC236}">
                  <a16:creationId xmlns:a16="http://schemas.microsoft.com/office/drawing/2014/main" id="{E097A539-1FDC-3246-ADA4-5C434C8FDE1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31" name="Freeform 36">
              <a:extLst>
                <a:ext uri="{FF2B5EF4-FFF2-40B4-BE49-F238E27FC236}">
                  <a16:creationId xmlns:a16="http://schemas.microsoft.com/office/drawing/2014/main" id="{261ADE3D-F723-E34F-8E92-F9391DEA655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32" name="Freeform 37">
              <a:extLst>
                <a:ext uri="{FF2B5EF4-FFF2-40B4-BE49-F238E27FC236}">
                  <a16:creationId xmlns:a16="http://schemas.microsoft.com/office/drawing/2014/main" id="{6434EDD4-DF5C-FD46-AF25-29EB4F64C3D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Tree>
    <p:extLst>
      <p:ext uri="{BB962C8B-B14F-4D97-AF65-F5344CB8AC3E}">
        <p14:creationId xmlns:p14="http://schemas.microsoft.com/office/powerpoint/2010/main" val="1203833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1.4.2 - Cover N PurpleBlue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A036052-A0E2-904D-A161-518C90D494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902"/>
            <a:ext cx="9144000" cy="5143500"/>
          </a:xfrm>
          <a:prstGeom prst="rect">
            <a:avLst/>
          </a:prstGeom>
        </p:spPr>
      </p:pic>
      <p:sp>
        <p:nvSpPr>
          <p:cNvPr id="20" name="TextBox 19">
            <a:extLst>
              <a:ext uri="{FF2B5EF4-FFF2-40B4-BE49-F238E27FC236}">
                <a16:creationId xmlns:a16="http://schemas.microsoft.com/office/drawing/2014/main" id="{77E65701-8704-DC44-7F06-7957F6D50DDE}"/>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B0CCF65E-F2C0-F179-6CEF-6926AE13A1A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5" name="Title 4">
            <a:extLst>
              <a:ext uri="{FF2B5EF4-FFF2-40B4-BE49-F238E27FC236}">
                <a16:creationId xmlns:a16="http://schemas.microsoft.com/office/drawing/2014/main" id="{54546C6C-6554-0842-AAAB-7705EA36B44A}"/>
              </a:ext>
            </a:extLst>
          </p:cNvPr>
          <p:cNvSpPr>
            <a:spLocks noGrp="1"/>
          </p:cNvSpPr>
          <p:nvPr>
            <p:ph type="title" hasCustomPrompt="1"/>
          </p:nvPr>
        </p:nvSpPr>
        <p:spPr>
          <a:xfrm>
            <a:off x="5292671" y="1292013"/>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6" name="Text Placeholder 3">
            <a:extLst>
              <a:ext uri="{FF2B5EF4-FFF2-40B4-BE49-F238E27FC236}">
                <a16:creationId xmlns:a16="http://schemas.microsoft.com/office/drawing/2014/main" id="{CB8510BF-5AFC-B741-B809-F66B1E9DC495}"/>
              </a:ext>
            </a:extLst>
          </p:cNvPr>
          <p:cNvSpPr>
            <a:spLocks noGrp="1"/>
          </p:cNvSpPr>
          <p:nvPr>
            <p:ph type="body" sz="quarter" idx="12" hasCustomPrompt="1"/>
          </p:nvPr>
        </p:nvSpPr>
        <p:spPr>
          <a:xfrm>
            <a:off x="5292671" y="2717050"/>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27" name="Graphic 3">
            <a:extLst>
              <a:ext uri="{FF2B5EF4-FFF2-40B4-BE49-F238E27FC236}">
                <a16:creationId xmlns:a16="http://schemas.microsoft.com/office/drawing/2014/main" id="{FD745D82-1B5E-D140-8857-BD1AB7165648}"/>
              </a:ext>
            </a:extLst>
          </p:cNvPr>
          <p:cNvGrpSpPr/>
          <p:nvPr userDrawn="1"/>
        </p:nvGrpSpPr>
        <p:grpSpPr>
          <a:xfrm>
            <a:off x="5263796" y="363206"/>
            <a:ext cx="1363492" cy="307063"/>
            <a:chOff x="469958" y="1647414"/>
            <a:chExt cx="8205029" cy="1847802"/>
          </a:xfrm>
          <a:solidFill>
            <a:schemeClr val="bg1"/>
          </a:solidFill>
        </p:grpSpPr>
        <p:sp>
          <p:nvSpPr>
            <p:cNvPr id="28" name="Freeform 33">
              <a:extLst>
                <a:ext uri="{FF2B5EF4-FFF2-40B4-BE49-F238E27FC236}">
                  <a16:creationId xmlns:a16="http://schemas.microsoft.com/office/drawing/2014/main" id="{1EB3E0ED-55BB-A142-8030-B4DEE14503C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9" name="Freeform 34">
              <a:extLst>
                <a:ext uri="{FF2B5EF4-FFF2-40B4-BE49-F238E27FC236}">
                  <a16:creationId xmlns:a16="http://schemas.microsoft.com/office/drawing/2014/main" id="{6DF8E6EF-72D3-874F-A2B0-6EC39CE052AC}"/>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30" name="Freeform 35">
              <a:extLst>
                <a:ext uri="{FF2B5EF4-FFF2-40B4-BE49-F238E27FC236}">
                  <a16:creationId xmlns:a16="http://schemas.microsoft.com/office/drawing/2014/main" id="{E097A539-1FDC-3246-ADA4-5C434C8FDE1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31" name="Freeform 36">
              <a:extLst>
                <a:ext uri="{FF2B5EF4-FFF2-40B4-BE49-F238E27FC236}">
                  <a16:creationId xmlns:a16="http://schemas.microsoft.com/office/drawing/2014/main" id="{261ADE3D-F723-E34F-8E92-F9391DEA655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32" name="Freeform 37">
              <a:extLst>
                <a:ext uri="{FF2B5EF4-FFF2-40B4-BE49-F238E27FC236}">
                  <a16:creationId xmlns:a16="http://schemas.microsoft.com/office/drawing/2014/main" id="{6434EDD4-DF5C-FD46-AF25-29EB4F64C3D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Tree>
    <p:extLst>
      <p:ext uri="{BB962C8B-B14F-4D97-AF65-F5344CB8AC3E}">
        <p14:creationId xmlns:p14="http://schemas.microsoft.com/office/powerpoint/2010/main" val="3031581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5 - 2xBulle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5232B339-6841-514E-9D88-3D026AFEFC7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2" name="Slide Number Placeholder 5">
            <a:extLst>
              <a:ext uri="{FF2B5EF4-FFF2-40B4-BE49-F238E27FC236}">
                <a16:creationId xmlns:a16="http://schemas.microsoft.com/office/drawing/2014/main" id="{0ACFC68F-E7EB-364E-BEED-5C2A8C1DB1D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2D21F644-CC82-514E-8D4A-6AA5B191CB2E}"/>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30136354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1.4.2 - Cover N PurpleBlue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A036052-A0E2-904D-A161-518C90D494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902"/>
            <a:ext cx="9144000" cy="5143500"/>
          </a:xfrm>
          <a:prstGeom prst="rect">
            <a:avLst/>
          </a:prstGeom>
        </p:spPr>
      </p:pic>
      <p:sp>
        <p:nvSpPr>
          <p:cNvPr id="20" name="TextBox 19">
            <a:extLst>
              <a:ext uri="{FF2B5EF4-FFF2-40B4-BE49-F238E27FC236}">
                <a16:creationId xmlns:a16="http://schemas.microsoft.com/office/drawing/2014/main" id="{77E65701-8704-DC44-7F06-7957F6D50DDE}"/>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B0CCF65E-F2C0-F179-6CEF-6926AE13A1A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5" name="Title 4">
            <a:extLst>
              <a:ext uri="{FF2B5EF4-FFF2-40B4-BE49-F238E27FC236}">
                <a16:creationId xmlns:a16="http://schemas.microsoft.com/office/drawing/2014/main" id="{54546C6C-6554-0842-AAAB-7705EA36B44A}"/>
              </a:ext>
            </a:extLst>
          </p:cNvPr>
          <p:cNvSpPr>
            <a:spLocks noGrp="1"/>
          </p:cNvSpPr>
          <p:nvPr>
            <p:ph type="title" hasCustomPrompt="1"/>
          </p:nvPr>
        </p:nvSpPr>
        <p:spPr>
          <a:xfrm>
            <a:off x="5292671" y="1292013"/>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6" name="Text Placeholder 3">
            <a:extLst>
              <a:ext uri="{FF2B5EF4-FFF2-40B4-BE49-F238E27FC236}">
                <a16:creationId xmlns:a16="http://schemas.microsoft.com/office/drawing/2014/main" id="{CB8510BF-5AFC-B741-B809-F66B1E9DC495}"/>
              </a:ext>
            </a:extLst>
          </p:cNvPr>
          <p:cNvSpPr>
            <a:spLocks noGrp="1"/>
          </p:cNvSpPr>
          <p:nvPr>
            <p:ph type="body" sz="quarter" idx="12" hasCustomPrompt="1"/>
          </p:nvPr>
        </p:nvSpPr>
        <p:spPr>
          <a:xfrm>
            <a:off x="5292671" y="2717050"/>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27" name="Graphic 3">
            <a:extLst>
              <a:ext uri="{FF2B5EF4-FFF2-40B4-BE49-F238E27FC236}">
                <a16:creationId xmlns:a16="http://schemas.microsoft.com/office/drawing/2014/main" id="{FD745D82-1B5E-D140-8857-BD1AB7165648}"/>
              </a:ext>
            </a:extLst>
          </p:cNvPr>
          <p:cNvGrpSpPr/>
          <p:nvPr userDrawn="1"/>
        </p:nvGrpSpPr>
        <p:grpSpPr>
          <a:xfrm>
            <a:off x="5263796" y="363206"/>
            <a:ext cx="1363492" cy="307063"/>
            <a:chOff x="469958" y="1647414"/>
            <a:chExt cx="8205029" cy="1847802"/>
          </a:xfrm>
          <a:solidFill>
            <a:schemeClr val="bg1"/>
          </a:solidFill>
        </p:grpSpPr>
        <p:sp>
          <p:nvSpPr>
            <p:cNvPr id="28" name="Freeform 33">
              <a:extLst>
                <a:ext uri="{FF2B5EF4-FFF2-40B4-BE49-F238E27FC236}">
                  <a16:creationId xmlns:a16="http://schemas.microsoft.com/office/drawing/2014/main" id="{1EB3E0ED-55BB-A142-8030-B4DEE14503C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9" name="Freeform 34">
              <a:extLst>
                <a:ext uri="{FF2B5EF4-FFF2-40B4-BE49-F238E27FC236}">
                  <a16:creationId xmlns:a16="http://schemas.microsoft.com/office/drawing/2014/main" id="{6DF8E6EF-72D3-874F-A2B0-6EC39CE052AC}"/>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30" name="Freeform 35">
              <a:extLst>
                <a:ext uri="{FF2B5EF4-FFF2-40B4-BE49-F238E27FC236}">
                  <a16:creationId xmlns:a16="http://schemas.microsoft.com/office/drawing/2014/main" id="{E097A539-1FDC-3246-ADA4-5C434C8FDE1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31" name="Freeform 36">
              <a:extLst>
                <a:ext uri="{FF2B5EF4-FFF2-40B4-BE49-F238E27FC236}">
                  <a16:creationId xmlns:a16="http://schemas.microsoft.com/office/drawing/2014/main" id="{261ADE3D-F723-E34F-8E92-F9391DEA655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32" name="Freeform 37">
              <a:extLst>
                <a:ext uri="{FF2B5EF4-FFF2-40B4-BE49-F238E27FC236}">
                  <a16:creationId xmlns:a16="http://schemas.microsoft.com/office/drawing/2014/main" id="{6434EDD4-DF5C-FD46-AF25-29EB4F64C3D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Tree>
    <p:extLst>
      <p:ext uri="{BB962C8B-B14F-4D97-AF65-F5344CB8AC3E}">
        <p14:creationId xmlns:p14="http://schemas.microsoft.com/office/powerpoint/2010/main" val="2283759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1.6.3 - Cover K Pink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7" name="Picture 6" descr="A person wearing glasses and purple clothes holding a computer&#10;&#10;Description automatically generated">
            <a:extLst>
              <a:ext uri="{FF2B5EF4-FFF2-40B4-BE49-F238E27FC236}">
                <a16:creationId xmlns:a16="http://schemas.microsoft.com/office/drawing/2014/main" id="{FBC06B8F-58AF-AC4A-B50E-CB69E64DCC6C}"/>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4134"/>
          <a:stretch/>
        </p:blipFill>
        <p:spPr>
          <a:xfrm>
            <a:off x="4676885" y="-699648"/>
            <a:ext cx="4539068" cy="5843148"/>
          </a:xfrm>
          <a:prstGeom prst="rect">
            <a:avLst/>
          </a:prstGeom>
        </p:spPr>
      </p:pic>
      <p:sp>
        <p:nvSpPr>
          <p:cNvPr id="21" name="TextBox 20">
            <a:extLst>
              <a:ext uri="{FF2B5EF4-FFF2-40B4-BE49-F238E27FC236}">
                <a16:creationId xmlns:a16="http://schemas.microsoft.com/office/drawing/2014/main" id="{FE10FF9E-A301-5C44-8003-C9C0C6AC564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2" name="Slide Number Placeholder 5">
            <a:extLst>
              <a:ext uri="{FF2B5EF4-FFF2-40B4-BE49-F238E27FC236}">
                <a16:creationId xmlns:a16="http://schemas.microsoft.com/office/drawing/2014/main" id="{A0112CD8-DEEE-D247-A9B4-31C09C68FF2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5" name="Graphic 3">
            <a:extLst>
              <a:ext uri="{FF2B5EF4-FFF2-40B4-BE49-F238E27FC236}">
                <a16:creationId xmlns:a16="http://schemas.microsoft.com/office/drawing/2014/main" id="{7D3D0F07-3E49-624B-83A1-C788AE636791}"/>
              </a:ext>
            </a:extLst>
          </p:cNvPr>
          <p:cNvGrpSpPr/>
          <p:nvPr userDrawn="1"/>
        </p:nvGrpSpPr>
        <p:grpSpPr>
          <a:xfrm>
            <a:off x="445383" y="404642"/>
            <a:ext cx="1363492" cy="307063"/>
            <a:chOff x="469958" y="1647414"/>
            <a:chExt cx="8205029" cy="1847802"/>
          </a:xfrm>
          <a:solidFill>
            <a:schemeClr val="bg1"/>
          </a:solidFill>
        </p:grpSpPr>
        <p:sp>
          <p:nvSpPr>
            <p:cNvPr id="16" name="Freeform 24">
              <a:extLst>
                <a:ext uri="{FF2B5EF4-FFF2-40B4-BE49-F238E27FC236}">
                  <a16:creationId xmlns:a16="http://schemas.microsoft.com/office/drawing/2014/main" id="{159232D7-C708-0246-A217-CFCEC580D82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7" name="Freeform 25">
              <a:extLst>
                <a:ext uri="{FF2B5EF4-FFF2-40B4-BE49-F238E27FC236}">
                  <a16:creationId xmlns:a16="http://schemas.microsoft.com/office/drawing/2014/main" id="{06B2C2D0-81BC-9746-8980-5F1A32A4ECC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8" name="Freeform 26">
              <a:extLst>
                <a:ext uri="{FF2B5EF4-FFF2-40B4-BE49-F238E27FC236}">
                  <a16:creationId xmlns:a16="http://schemas.microsoft.com/office/drawing/2014/main" id="{48552652-1B75-984D-B784-0425AFB836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9" name="Freeform 27">
              <a:extLst>
                <a:ext uri="{FF2B5EF4-FFF2-40B4-BE49-F238E27FC236}">
                  <a16:creationId xmlns:a16="http://schemas.microsoft.com/office/drawing/2014/main" id="{654F1906-22C1-2743-804A-C69A010768F2}"/>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0" name="Freeform 28">
              <a:extLst>
                <a:ext uri="{FF2B5EF4-FFF2-40B4-BE49-F238E27FC236}">
                  <a16:creationId xmlns:a16="http://schemas.microsoft.com/office/drawing/2014/main" id="{3CAC562D-C1E0-5849-9BEF-4D8F38EA421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48207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3_1.6.3 - Cover K Pink1">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9A9D5D83-CF80-2347-A24C-FC79F24F4F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6" name="Picture 5" descr="A person wearing a virtual reality goggles&#10;&#10;Description automatically generated">
            <a:extLst>
              <a:ext uri="{FF2B5EF4-FFF2-40B4-BE49-F238E27FC236}">
                <a16:creationId xmlns:a16="http://schemas.microsoft.com/office/drawing/2014/main" id="{F2390BA8-4C4C-AA41-9F17-35E6929879E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66899" y="162544"/>
            <a:ext cx="6641273" cy="4980955"/>
          </a:xfrm>
          <a:prstGeom prst="rect">
            <a:avLst/>
          </a:prstGeom>
        </p:spPr>
      </p:pic>
      <p:sp>
        <p:nvSpPr>
          <p:cNvPr id="21" name="TextBox 20">
            <a:extLst>
              <a:ext uri="{FF2B5EF4-FFF2-40B4-BE49-F238E27FC236}">
                <a16:creationId xmlns:a16="http://schemas.microsoft.com/office/drawing/2014/main" id="{5880F062-A394-4944-96DC-8141B6508D3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2" name="Slide Number Placeholder 5">
            <a:extLst>
              <a:ext uri="{FF2B5EF4-FFF2-40B4-BE49-F238E27FC236}">
                <a16:creationId xmlns:a16="http://schemas.microsoft.com/office/drawing/2014/main" id="{670EAE05-1D8E-504C-9141-8DA95F0B132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5" name="Graphic 3">
            <a:extLst>
              <a:ext uri="{FF2B5EF4-FFF2-40B4-BE49-F238E27FC236}">
                <a16:creationId xmlns:a16="http://schemas.microsoft.com/office/drawing/2014/main" id="{3BBB6C05-DCFC-A94E-B128-09AF4807FD42}"/>
              </a:ext>
            </a:extLst>
          </p:cNvPr>
          <p:cNvGrpSpPr/>
          <p:nvPr userDrawn="1"/>
        </p:nvGrpSpPr>
        <p:grpSpPr>
          <a:xfrm>
            <a:off x="445383" y="404642"/>
            <a:ext cx="1363492" cy="307063"/>
            <a:chOff x="469958" y="1647414"/>
            <a:chExt cx="8205029" cy="1847802"/>
          </a:xfrm>
          <a:solidFill>
            <a:schemeClr val="bg1"/>
          </a:solidFill>
        </p:grpSpPr>
        <p:sp>
          <p:nvSpPr>
            <p:cNvPr id="16" name="Freeform 24">
              <a:extLst>
                <a:ext uri="{FF2B5EF4-FFF2-40B4-BE49-F238E27FC236}">
                  <a16:creationId xmlns:a16="http://schemas.microsoft.com/office/drawing/2014/main" id="{4F9D053D-186C-FA4D-BDD1-2D0B71FE974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8" name="Freeform 25">
              <a:extLst>
                <a:ext uri="{FF2B5EF4-FFF2-40B4-BE49-F238E27FC236}">
                  <a16:creationId xmlns:a16="http://schemas.microsoft.com/office/drawing/2014/main" id="{EE4B6D82-650C-7F40-99F0-B4E264013F7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9" name="Freeform 26">
              <a:extLst>
                <a:ext uri="{FF2B5EF4-FFF2-40B4-BE49-F238E27FC236}">
                  <a16:creationId xmlns:a16="http://schemas.microsoft.com/office/drawing/2014/main" id="{0C20745C-8A9A-FA4D-967B-073B9666D6A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0" name="Freeform 27">
              <a:extLst>
                <a:ext uri="{FF2B5EF4-FFF2-40B4-BE49-F238E27FC236}">
                  <a16:creationId xmlns:a16="http://schemas.microsoft.com/office/drawing/2014/main" id="{CA36B66A-243A-D74F-9D8A-EC512215849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5" name="Freeform 28">
              <a:extLst>
                <a:ext uri="{FF2B5EF4-FFF2-40B4-BE49-F238E27FC236}">
                  <a16:creationId xmlns:a16="http://schemas.microsoft.com/office/drawing/2014/main" id="{3D90F9D9-3A43-2C44-868E-66353A2E6BFE}"/>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4313434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2_1.6.3 - Cover K Pink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C0B63B-5EB2-C517-FFAF-0A5B2B5AB9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6" name="Picture 5" descr="A picture containing human face, person, person, clothing&#10;&#10;Description automatically generated">
            <a:extLst>
              <a:ext uri="{FF2B5EF4-FFF2-40B4-BE49-F238E27FC236}">
                <a16:creationId xmlns:a16="http://schemas.microsoft.com/office/drawing/2014/main" id="{80290362-7825-9D4D-AF66-47293CD72AB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flipH="1">
            <a:off x="4210006" y="0"/>
            <a:ext cx="4933993" cy="5143500"/>
          </a:xfrm>
          <a:prstGeom prst="rect">
            <a:avLst/>
          </a:prstGeom>
        </p:spPr>
      </p:pic>
      <p:sp>
        <p:nvSpPr>
          <p:cNvPr id="17" name="TextBox 16">
            <a:extLst>
              <a:ext uri="{FF2B5EF4-FFF2-40B4-BE49-F238E27FC236}">
                <a16:creationId xmlns:a16="http://schemas.microsoft.com/office/drawing/2014/main" id="{21FD8FF6-D886-B140-AAC3-9EA34B7C0F8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AAC8D674-14B5-3948-9187-9BBE81145AA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5" name="Graphic 3">
            <a:extLst>
              <a:ext uri="{FF2B5EF4-FFF2-40B4-BE49-F238E27FC236}">
                <a16:creationId xmlns:a16="http://schemas.microsoft.com/office/drawing/2014/main" id="{691BD5E7-3016-A24F-9D4F-C11FB4E78538}"/>
              </a:ext>
            </a:extLst>
          </p:cNvPr>
          <p:cNvGrpSpPr/>
          <p:nvPr userDrawn="1"/>
        </p:nvGrpSpPr>
        <p:grpSpPr>
          <a:xfrm>
            <a:off x="445383" y="404642"/>
            <a:ext cx="1363492" cy="307063"/>
            <a:chOff x="469958" y="1647414"/>
            <a:chExt cx="8205029" cy="1847802"/>
          </a:xfrm>
          <a:solidFill>
            <a:schemeClr val="bg1"/>
          </a:solidFill>
        </p:grpSpPr>
        <p:sp>
          <p:nvSpPr>
            <p:cNvPr id="16" name="Freeform 24">
              <a:extLst>
                <a:ext uri="{FF2B5EF4-FFF2-40B4-BE49-F238E27FC236}">
                  <a16:creationId xmlns:a16="http://schemas.microsoft.com/office/drawing/2014/main" id="{63185101-AA61-2346-84F9-E07AD177CB7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8" name="Freeform 25">
              <a:extLst>
                <a:ext uri="{FF2B5EF4-FFF2-40B4-BE49-F238E27FC236}">
                  <a16:creationId xmlns:a16="http://schemas.microsoft.com/office/drawing/2014/main" id="{01A54DCE-2EB8-3A4C-B3A8-87C38653585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9" name="Freeform 26">
              <a:extLst>
                <a:ext uri="{FF2B5EF4-FFF2-40B4-BE49-F238E27FC236}">
                  <a16:creationId xmlns:a16="http://schemas.microsoft.com/office/drawing/2014/main" id="{0CF8651F-215A-D242-A5DB-DF2912ECAA7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0" name="Freeform 27">
              <a:extLst>
                <a:ext uri="{FF2B5EF4-FFF2-40B4-BE49-F238E27FC236}">
                  <a16:creationId xmlns:a16="http://schemas.microsoft.com/office/drawing/2014/main" id="{5CAFFD6B-9093-054D-A1BF-D828E58165C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2" name="Freeform 28">
              <a:extLst>
                <a:ext uri="{FF2B5EF4-FFF2-40B4-BE49-F238E27FC236}">
                  <a16:creationId xmlns:a16="http://schemas.microsoft.com/office/drawing/2014/main" id="{C7D3B0DB-CD7F-0947-9188-D10BA5C4BB57}"/>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22672673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1.6.3 - Cover K Pink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C0B63B-5EB2-C517-FFAF-0A5B2B5AB9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7" name="Picture 6" descr="A person holding a disco ball&#10;&#10;Description automatically generated">
            <a:extLst>
              <a:ext uri="{FF2B5EF4-FFF2-40B4-BE49-F238E27FC236}">
                <a16:creationId xmlns:a16="http://schemas.microsoft.com/office/drawing/2014/main" id="{A3F3489D-EE92-5148-B433-94E828F7299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560462" y="189628"/>
            <a:ext cx="6601665" cy="4954322"/>
          </a:xfrm>
          <a:prstGeom prst="rect">
            <a:avLst/>
          </a:prstGeom>
        </p:spPr>
      </p:pic>
      <p:sp>
        <p:nvSpPr>
          <p:cNvPr id="17" name="TextBox 16">
            <a:extLst>
              <a:ext uri="{FF2B5EF4-FFF2-40B4-BE49-F238E27FC236}">
                <a16:creationId xmlns:a16="http://schemas.microsoft.com/office/drawing/2014/main" id="{D075AF7A-8BE4-694A-A4B0-C93C678075D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F3327692-5D38-5542-A532-572BB599B4F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5" name="Graphic 3">
            <a:extLst>
              <a:ext uri="{FF2B5EF4-FFF2-40B4-BE49-F238E27FC236}">
                <a16:creationId xmlns:a16="http://schemas.microsoft.com/office/drawing/2014/main" id="{906AD149-CE26-D846-B9BF-FA4BA37A2969}"/>
              </a:ext>
            </a:extLst>
          </p:cNvPr>
          <p:cNvGrpSpPr/>
          <p:nvPr userDrawn="1"/>
        </p:nvGrpSpPr>
        <p:grpSpPr>
          <a:xfrm>
            <a:off x="445383" y="404642"/>
            <a:ext cx="1363492" cy="307063"/>
            <a:chOff x="469958" y="1647414"/>
            <a:chExt cx="8205029" cy="1847802"/>
          </a:xfrm>
          <a:solidFill>
            <a:schemeClr val="bg1"/>
          </a:solidFill>
        </p:grpSpPr>
        <p:sp>
          <p:nvSpPr>
            <p:cNvPr id="16" name="Freeform 24">
              <a:extLst>
                <a:ext uri="{FF2B5EF4-FFF2-40B4-BE49-F238E27FC236}">
                  <a16:creationId xmlns:a16="http://schemas.microsoft.com/office/drawing/2014/main" id="{F8F26E09-36C3-E14F-998B-3E1D9C21C53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8" name="Freeform 25">
              <a:extLst>
                <a:ext uri="{FF2B5EF4-FFF2-40B4-BE49-F238E27FC236}">
                  <a16:creationId xmlns:a16="http://schemas.microsoft.com/office/drawing/2014/main" id="{D6659CB3-7360-484E-BF83-99C275EB7C2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9" name="Freeform 26">
              <a:extLst>
                <a:ext uri="{FF2B5EF4-FFF2-40B4-BE49-F238E27FC236}">
                  <a16:creationId xmlns:a16="http://schemas.microsoft.com/office/drawing/2014/main" id="{B5745052-56B7-0E4F-B7D3-19CC40DA06A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0" name="Freeform 27">
              <a:extLst>
                <a:ext uri="{FF2B5EF4-FFF2-40B4-BE49-F238E27FC236}">
                  <a16:creationId xmlns:a16="http://schemas.microsoft.com/office/drawing/2014/main" id="{B3CDC564-0FD0-E645-A4AF-8E44B938E22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2" name="Freeform 28">
              <a:extLst>
                <a:ext uri="{FF2B5EF4-FFF2-40B4-BE49-F238E27FC236}">
                  <a16:creationId xmlns:a16="http://schemas.microsoft.com/office/drawing/2014/main" id="{3588CB13-B290-884F-A92A-A5A744669B1A}"/>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6893846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1.6.3 - Cover K Pink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C0B63B-5EB2-C517-FFAF-0A5B2B5AB9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6" name="Picture 5" descr="A person smiling while holding a tablet&#10;&#10;Description automatically generated with low confidence">
            <a:extLst>
              <a:ext uri="{FF2B5EF4-FFF2-40B4-BE49-F238E27FC236}">
                <a16:creationId xmlns:a16="http://schemas.microsoft.com/office/drawing/2014/main" id="{D3FF6EA3-AF05-B246-8DA5-4494FE0EB8E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19414" y="165550"/>
            <a:ext cx="4978400" cy="4978400"/>
          </a:xfrm>
          <a:prstGeom prst="rect">
            <a:avLst/>
          </a:prstGeom>
        </p:spPr>
      </p:pic>
      <p:sp>
        <p:nvSpPr>
          <p:cNvPr id="17" name="TextBox 16">
            <a:extLst>
              <a:ext uri="{FF2B5EF4-FFF2-40B4-BE49-F238E27FC236}">
                <a16:creationId xmlns:a16="http://schemas.microsoft.com/office/drawing/2014/main" id="{57019CA7-C2F2-6C44-8943-8A36D8FC608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00D366B6-7673-C04E-8621-5AAD9CB41D5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5" name="Graphic 3">
            <a:extLst>
              <a:ext uri="{FF2B5EF4-FFF2-40B4-BE49-F238E27FC236}">
                <a16:creationId xmlns:a16="http://schemas.microsoft.com/office/drawing/2014/main" id="{0B97FBC9-A775-8E47-B76D-9825B1AB285E}"/>
              </a:ext>
            </a:extLst>
          </p:cNvPr>
          <p:cNvGrpSpPr/>
          <p:nvPr userDrawn="1"/>
        </p:nvGrpSpPr>
        <p:grpSpPr>
          <a:xfrm>
            <a:off x="445383" y="404642"/>
            <a:ext cx="1363492" cy="307063"/>
            <a:chOff x="469958" y="1647414"/>
            <a:chExt cx="8205029" cy="1847802"/>
          </a:xfrm>
          <a:solidFill>
            <a:schemeClr val="bg1"/>
          </a:solidFill>
        </p:grpSpPr>
        <p:sp>
          <p:nvSpPr>
            <p:cNvPr id="16" name="Freeform 24">
              <a:extLst>
                <a:ext uri="{FF2B5EF4-FFF2-40B4-BE49-F238E27FC236}">
                  <a16:creationId xmlns:a16="http://schemas.microsoft.com/office/drawing/2014/main" id="{94E2012C-BD02-244D-B8BB-FE22A0D055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8" name="Freeform 25">
              <a:extLst>
                <a:ext uri="{FF2B5EF4-FFF2-40B4-BE49-F238E27FC236}">
                  <a16:creationId xmlns:a16="http://schemas.microsoft.com/office/drawing/2014/main" id="{E8BFE39A-6D16-FE4F-A217-BD4C7E04B55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9" name="Freeform 26">
              <a:extLst>
                <a:ext uri="{FF2B5EF4-FFF2-40B4-BE49-F238E27FC236}">
                  <a16:creationId xmlns:a16="http://schemas.microsoft.com/office/drawing/2014/main" id="{C2EA9F7E-B624-A548-94BC-751396496CD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0" name="Freeform 27">
              <a:extLst>
                <a:ext uri="{FF2B5EF4-FFF2-40B4-BE49-F238E27FC236}">
                  <a16:creationId xmlns:a16="http://schemas.microsoft.com/office/drawing/2014/main" id="{30AD3ED4-CA3F-3A47-B700-93394561ED2E}"/>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2" name="Freeform 28">
              <a:extLst>
                <a:ext uri="{FF2B5EF4-FFF2-40B4-BE49-F238E27FC236}">
                  <a16:creationId xmlns:a16="http://schemas.microsoft.com/office/drawing/2014/main" id="{E0575E92-5E2F-454D-88D5-8B07E9233E1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9713466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9_1.6.3 - Cover K Pink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6" name="Picture 5">
            <a:extLst>
              <a:ext uri="{FF2B5EF4-FFF2-40B4-BE49-F238E27FC236}">
                <a16:creationId xmlns:a16="http://schemas.microsoft.com/office/drawing/2014/main" id="{D3FF6EA3-AF05-B246-8DA5-4494FE0EB8EF}"/>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7432"/>
          <a:stretch/>
        </p:blipFill>
        <p:spPr>
          <a:xfrm flipH="1">
            <a:off x="698570" y="1"/>
            <a:ext cx="8445429" cy="5143500"/>
          </a:xfrm>
          <a:prstGeom prst="rect">
            <a:avLst/>
          </a:prstGeom>
        </p:spPr>
      </p:pic>
      <p:sp>
        <p:nvSpPr>
          <p:cNvPr id="17" name="TextBox 16">
            <a:extLst>
              <a:ext uri="{FF2B5EF4-FFF2-40B4-BE49-F238E27FC236}">
                <a16:creationId xmlns:a16="http://schemas.microsoft.com/office/drawing/2014/main" id="{DC2D99EC-570E-BB44-878C-D8C59594894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3FB4392B-16C7-4E41-95F9-6CAD0149D89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5" name="Graphic 3">
            <a:extLst>
              <a:ext uri="{FF2B5EF4-FFF2-40B4-BE49-F238E27FC236}">
                <a16:creationId xmlns:a16="http://schemas.microsoft.com/office/drawing/2014/main" id="{00E17A21-D04D-AC43-90ED-A5CB5E4091A4}"/>
              </a:ext>
            </a:extLst>
          </p:cNvPr>
          <p:cNvGrpSpPr/>
          <p:nvPr userDrawn="1"/>
        </p:nvGrpSpPr>
        <p:grpSpPr>
          <a:xfrm>
            <a:off x="445383" y="404642"/>
            <a:ext cx="1363492" cy="307063"/>
            <a:chOff x="469958" y="1647414"/>
            <a:chExt cx="8205029" cy="1847802"/>
          </a:xfrm>
          <a:solidFill>
            <a:schemeClr val="bg1"/>
          </a:solidFill>
        </p:grpSpPr>
        <p:sp>
          <p:nvSpPr>
            <p:cNvPr id="16" name="Freeform 24">
              <a:extLst>
                <a:ext uri="{FF2B5EF4-FFF2-40B4-BE49-F238E27FC236}">
                  <a16:creationId xmlns:a16="http://schemas.microsoft.com/office/drawing/2014/main" id="{0394FDA9-4668-1546-B3A9-1C4C711C2FE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8" name="Freeform 25">
              <a:extLst>
                <a:ext uri="{FF2B5EF4-FFF2-40B4-BE49-F238E27FC236}">
                  <a16:creationId xmlns:a16="http://schemas.microsoft.com/office/drawing/2014/main" id="{82615BA5-32D5-0244-ABDF-D0A1D79496C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9" name="Freeform 26">
              <a:extLst>
                <a:ext uri="{FF2B5EF4-FFF2-40B4-BE49-F238E27FC236}">
                  <a16:creationId xmlns:a16="http://schemas.microsoft.com/office/drawing/2014/main" id="{0C5E4F53-503C-D642-BDC9-FBB6961336A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0" name="Freeform 27">
              <a:extLst>
                <a:ext uri="{FF2B5EF4-FFF2-40B4-BE49-F238E27FC236}">
                  <a16:creationId xmlns:a16="http://schemas.microsoft.com/office/drawing/2014/main" id="{3E4467CB-6F84-564B-987B-F6E0F4532D0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2" name="Freeform 28">
              <a:extLst>
                <a:ext uri="{FF2B5EF4-FFF2-40B4-BE49-F238E27FC236}">
                  <a16:creationId xmlns:a16="http://schemas.microsoft.com/office/drawing/2014/main" id="{4F28F88D-9737-DF4A-BC3A-DB583D373B0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27189800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1.6.3 - Cover K Pink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pic>
        <p:nvPicPr>
          <p:cNvPr id="6" name="Picture 5">
            <a:extLst>
              <a:ext uri="{FF2B5EF4-FFF2-40B4-BE49-F238E27FC236}">
                <a16:creationId xmlns:a16="http://schemas.microsoft.com/office/drawing/2014/main" id="{D3FF6EA3-AF05-B246-8DA5-4494FE0EB8EF}"/>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2807221" y="1"/>
            <a:ext cx="6354425" cy="5143500"/>
          </a:xfrm>
          <a:prstGeom prst="rect">
            <a:avLst/>
          </a:prstGeom>
        </p:spPr>
      </p:pic>
      <p:sp>
        <p:nvSpPr>
          <p:cNvPr id="17" name="TextBox 16">
            <a:extLst>
              <a:ext uri="{FF2B5EF4-FFF2-40B4-BE49-F238E27FC236}">
                <a16:creationId xmlns:a16="http://schemas.microsoft.com/office/drawing/2014/main" id="{20A7ECC4-D396-0C4E-9759-5AC744D513B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22B21088-D355-BE4E-A313-55A87234688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5" name="Graphic 3">
            <a:extLst>
              <a:ext uri="{FF2B5EF4-FFF2-40B4-BE49-F238E27FC236}">
                <a16:creationId xmlns:a16="http://schemas.microsoft.com/office/drawing/2014/main" id="{65484F13-1D9B-C04E-B495-017EDC4519B0}"/>
              </a:ext>
            </a:extLst>
          </p:cNvPr>
          <p:cNvGrpSpPr/>
          <p:nvPr userDrawn="1"/>
        </p:nvGrpSpPr>
        <p:grpSpPr>
          <a:xfrm>
            <a:off x="445383" y="404642"/>
            <a:ext cx="1363492" cy="307063"/>
            <a:chOff x="469958" y="1647414"/>
            <a:chExt cx="8205029" cy="1847802"/>
          </a:xfrm>
          <a:solidFill>
            <a:schemeClr val="bg1"/>
          </a:solidFill>
        </p:grpSpPr>
        <p:sp>
          <p:nvSpPr>
            <p:cNvPr id="16" name="Freeform 24">
              <a:extLst>
                <a:ext uri="{FF2B5EF4-FFF2-40B4-BE49-F238E27FC236}">
                  <a16:creationId xmlns:a16="http://schemas.microsoft.com/office/drawing/2014/main" id="{5EDA579B-015C-4E4F-8E19-10CFDEE6FA2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8" name="Freeform 25">
              <a:extLst>
                <a:ext uri="{FF2B5EF4-FFF2-40B4-BE49-F238E27FC236}">
                  <a16:creationId xmlns:a16="http://schemas.microsoft.com/office/drawing/2014/main" id="{26E65ED7-0E56-8A4F-8F2B-35C55FEAF987}"/>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9" name="Freeform 26">
              <a:extLst>
                <a:ext uri="{FF2B5EF4-FFF2-40B4-BE49-F238E27FC236}">
                  <a16:creationId xmlns:a16="http://schemas.microsoft.com/office/drawing/2014/main" id="{F5C54F6C-6032-5A43-B0FD-31CF3818B6C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0" name="Freeform 27">
              <a:extLst>
                <a:ext uri="{FF2B5EF4-FFF2-40B4-BE49-F238E27FC236}">
                  <a16:creationId xmlns:a16="http://schemas.microsoft.com/office/drawing/2014/main" id="{62C9F9D5-F59D-734A-9F90-EE280D77DAC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2" name="Freeform 28">
              <a:extLst>
                <a:ext uri="{FF2B5EF4-FFF2-40B4-BE49-F238E27FC236}">
                  <a16:creationId xmlns:a16="http://schemas.microsoft.com/office/drawing/2014/main" id="{1A9F933D-64D9-9B42-94B9-2822C9934F1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6633562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_1.6.3 - Cover K Pink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C0B63B-5EB2-C517-FFAF-0A5B2B5AB9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17" name="TextBox 16">
            <a:extLst>
              <a:ext uri="{FF2B5EF4-FFF2-40B4-BE49-F238E27FC236}">
                <a16:creationId xmlns:a16="http://schemas.microsoft.com/office/drawing/2014/main" id="{47A99B2F-741D-1948-9DF7-849E6FDE58A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1" name="Slide Number Placeholder 5">
            <a:extLst>
              <a:ext uri="{FF2B5EF4-FFF2-40B4-BE49-F238E27FC236}">
                <a16:creationId xmlns:a16="http://schemas.microsoft.com/office/drawing/2014/main" id="{ED16D245-B4B4-0742-99F9-60062E63D30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13" name="Graphic 3">
            <a:extLst>
              <a:ext uri="{FF2B5EF4-FFF2-40B4-BE49-F238E27FC236}">
                <a16:creationId xmlns:a16="http://schemas.microsoft.com/office/drawing/2014/main" id="{B3B2ADDC-2C05-3B42-A9B3-9DDD5A15A5F2}"/>
              </a:ext>
            </a:extLst>
          </p:cNvPr>
          <p:cNvGrpSpPr/>
          <p:nvPr userDrawn="1"/>
        </p:nvGrpSpPr>
        <p:grpSpPr>
          <a:xfrm>
            <a:off x="445383" y="404642"/>
            <a:ext cx="1363492" cy="307063"/>
            <a:chOff x="469958" y="1647414"/>
            <a:chExt cx="8205029" cy="1847802"/>
          </a:xfrm>
          <a:solidFill>
            <a:schemeClr val="bg1"/>
          </a:solidFill>
        </p:grpSpPr>
        <p:sp>
          <p:nvSpPr>
            <p:cNvPr id="14" name="Freeform 24">
              <a:extLst>
                <a:ext uri="{FF2B5EF4-FFF2-40B4-BE49-F238E27FC236}">
                  <a16:creationId xmlns:a16="http://schemas.microsoft.com/office/drawing/2014/main" id="{015AF0F9-7038-FA43-B7D4-B32DD34B742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5" name="Freeform 25">
              <a:extLst>
                <a:ext uri="{FF2B5EF4-FFF2-40B4-BE49-F238E27FC236}">
                  <a16:creationId xmlns:a16="http://schemas.microsoft.com/office/drawing/2014/main" id="{D8535F40-F7F0-4947-A48E-5CD5BB67685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6" name="Freeform 26">
              <a:extLst>
                <a:ext uri="{FF2B5EF4-FFF2-40B4-BE49-F238E27FC236}">
                  <a16:creationId xmlns:a16="http://schemas.microsoft.com/office/drawing/2014/main" id="{50271927-F36B-F846-A6A1-F3976C44D523}"/>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8" name="Freeform 27">
              <a:extLst>
                <a:ext uri="{FF2B5EF4-FFF2-40B4-BE49-F238E27FC236}">
                  <a16:creationId xmlns:a16="http://schemas.microsoft.com/office/drawing/2014/main" id="{85BBADE7-122C-1C49-8CD4-BB829BBC63D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9" name="Freeform 28">
              <a:extLst>
                <a:ext uri="{FF2B5EF4-FFF2-40B4-BE49-F238E27FC236}">
                  <a16:creationId xmlns:a16="http://schemas.microsoft.com/office/drawing/2014/main" id="{E973DD23-3518-3645-AFC8-DF3B2AF0173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1611046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6.4 - Cover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8798"/>
          <a:stretch/>
        </p:blipFill>
        <p:spPr>
          <a:xfrm>
            <a:off x="4966626" y="0"/>
            <a:ext cx="4177374" cy="5144400"/>
          </a:xfrm>
          <a:prstGeom prst="rect">
            <a:avLst/>
          </a:prstGeom>
        </p:spPr>
      </p:pic>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7" name="Graphic 3">
            <a:extLst>
              <a:ext uri="{FF2B5EF4-FFF2-40B4-BE49-F238E27FC236}">
                <a16:creationId xmlns:a16="http://schemas.microsoft.com/office/drawing/2014/main" id="{57ADD6F0-8A1D-2465-892B-42BFF999186F}"/>
              </a:ext>
            </a:extLst>
          </p:cNvPr>
          <p:cNvGrpSpPr/>
          <p:nvPr userDrawn="1"/>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9" name="TextBox 18">
            <a:extLst>
              <a:ext uri="{FF2B5EF4-FFF2-40B4-BE49-F238E27FC236}">
                <a16:creationId xmlns:a16="http://schemas.microsoft.com/office/drawing/2014/main" id="{685118FE-3A69-7878-D9BB-1A3313720C8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20" name="Slide Number Placeholder 5">
            <a:extLst>
              <a:ext uri="{FF2B5EF4-FFF2-40B4-BE49-F238E27FC236}">
                <a16:creationId xmlns:a16="http://schemas.microsoft.com/office/drawing/2014/main" id="{0F609D8D-5CB0-9FB7-12C3-CB2F81E54A6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40059290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6 - 3xBulle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820A1DB7-8CDA-274B-BA5E-322BBFB276E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3" name="Slide Number Placeholder 5">
            <a:extLst>
              <a:ext uri="{FF2B5EF4-FFF2-40B4-BE49-F238E27FC236}">
                <a16:creationId xmlns:a16="http://schemas.microsoft.com/office/drawing/2014/main" id="{5B857727-976F-A74E-BD9B-7AD0BCFBA66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ABF34C7-E5F4-7E4E-9022-CDD15C91D2D2}"/>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6" name="Footer Placeholder 2">
            <a:extLst>
              <a:ext uri="{FF2B5EF4-FFF2-40B4-BE49-F238E27FC236}">
                <a16:creationId xmlns:a16="http://schemas.microsoft.com/office/drawing/2014/main" id="{19263FAA-08C0-4945-92EF-393BA5B2D837}"/>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11496995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7.1 - Divider BlueGreen2">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4" name="Slide Number Placeholder 5">
            <a:extLst>
              <a:ext uri="{FF2B5EF4-FFF2-40B4-BE49-F238E27FC236}">
                <a16:creationId xmlns:a16="http://schemas.microsoft.com/office/drawing/2014/main" id="{0FC82D3C-5CAB-DDEA-5BAD-0CE49311B44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Text Placeholder 42">
            <a:extLst>
              <a:ext uri="{FF2B5EF4-FFF2-40B4-BE49-F238E27FC236}">
                <a16:creationId xmlns:a16="http://schemas.microsoft.com/office/drawing/2014/main" id="{56D07526-2E9D-2AAD-EE94-167EEE1536FF}"/>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
        <p:nvSpPr>
          <p:cNvPr id="10" name="TextBox 9">
            <a:extLst>
              <a:ext uri="{FF2B5EF4-FFF2-40B4-BE49-F238E27FC236}">
                <a16:creationId xmlns:a16="http://schemas.microsoft.com/office/drawing/2014/main" id="{64B9089E-1EE4-F748-8ACE-45A363AE5B8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1" name="Footer Placeholder 2">
            <a:extLst>
              <a:ext uri="{FF2B5EF4-FFF2-40B4-BE49-F238E27FC236}">
                <a16:creationId xmlns:a16="http://schemas.microsoft.com/office/drawing/2014/main" id="{79411973-E14A-B54B-A37F-195529CA9334}"/>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13510216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7.2 - Divider BlueGreen3">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
        <p:nvSpPr>
          <p:cNvPr id="8" name="Text Placeholder 42">
            <a:extLst>
              <a:ext uri="{FF2B5EF4-FFF2-40B4-BE49-F238E27FC236}">
                <a16:creationId xmlns:a16="http://schemas.microsoft.com/office/drawing/2014/main" id="{BE7F6530-2B80-C2AA-C92D-861D7E8FD530}"/>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4" name="Slide Number Placeholder 5">
            <a:extLst>
              <a:ext uri="{FF2B5EF4-FFF2-40B4-BE49-F238E27FC236}">
                <a16:creationId xmlns:a16="http://schemas.microsoft.com/office/drawing/2014/main" id="{3976F6A6-5835-91B8-5B94-A197DCCF65D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3" name="Text Placeholder 42">
            <a:extLst>
              <a:ext uri="{FF2B5EF4-FFF2-40B4-BE49-F238E27FC236}">
                <a16:creationId xmlns:a16="http://schemas.microsoft.com/office/drawing/2014/main" id="{5ED3C240-0F31-AD4B-E3D6-E9E2DFC4EB67}"/>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
        <p:nvSpPr>
          <p:cNvPr id="10" name="TextBox 9">
            <a:extLst>
              <a:ext uri="{FF2B5EF4-FFF2-40B4-BE49-F238E27FC236}">
                <a16:creationId xmlns:a16="http://schemas.microsoft.com/office/drawing/2014/main" id="{B130481D-4F5F-4C40-9E1E-A117B7F3BCE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2" name="Footer Placeholder 2">
            <a:extLst>
              <a:ext uri="{FF2B5EF4-FFF2-40B4-BE49-F238E27FC236}">
                <a16:creationId xmlns:a16="http://schemas.microsoft.com/office/drawing/2014/main" id="{F20F7EC3-29CB-0248-8EA9-6F0046C9F085}"/>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28315759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7.3 - Divider BlueGreen5">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4" name="Slide Number Placeholder 5">
            <a:extLst>
              <a:ext uri="{FF2B5EF4-FFF2-40B4-BE49-F238E27FC236}">
                <a16:creationId xmlns:a16="http://schemas.microsoft.com/office/drawing/2014/main" id="{823572DF-299F-8B6C-1E42-1A659F39324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4" name="Text Placeholder 42">
            <a:extLst>
              <a:ext uri="{FF2B5EF4-FFF2-40B4-BE49-F238E27FC236}">
                <a16:creationId xmlns:a16="http://schemas.microsoft.com/office/drawing/2014/main" id="{B4CCFE40-D40E-A7E0-E99F-0E9E3E7CA3B1}"/>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
        <p:nvSpPr>
          <p:cNvPr id="10" name="TextBox 9">
            <a:extLst>
              <a:ext uri="{FF2B5EF4-FFF2-40B4-BE49-F238E27FC236}">
                <a16:creationId xmlns:a16="http://schemas.microsoft.com/office/drawing/2014/main" id="{2E6AFD72-FF7D-3C4C-A4BD-68C4496ED76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1" name="Footer Placeholder 2">
            <a:extLst>
              <a:ext uri="{FF2B5EF4-FFF2-40B4-BE49-F238E27FC236}">
                <a16:creationId xmlns:a16="http://schemas.microsoft.com/office/drawing/2014/main" id="{59C76D33-229C-3A40-B05A-C7887B3A1CE4}"/>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34138688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7.4 - Divider PurpleBlue2">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0DABAD96-0284-76FF-D804-48E7FFCA08F5}"/>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4" name="Slide Number Placeholder 5">
            <a:extLst>
              <a:ext uri="{FF2B5EF4-FFF2-40B4-BE49-F238E27FC236}">
                <a16:creationId xmlns:a16="http://schemas.microsoft.com/office/drawing/2014/main" id="{4486F512-1927-A0E0-A1C2-79941992D99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4" name="Text Placeholder 42">
            <a:extLst>
              <a:ext uri="{FF2B5EF4-FFF2-40B4-BE49-F238E27FC236}">
                <a16:creationId xmlns:a16="http://schemas.microsoft.com/office/drawing/2014/main" id="{E790325F-8E1D-1D8F-9BC9-63324BDA4002}"/>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
        <p:nvSpPr>
          <p:cNvPr id="10" name="TextBox 9">
            <a:extLst>
              <a:ext uri="{FF2B5EF4-FFF2-40B4-BE49-F238E27FC236}">
                <a16:creationId xmlns:a16="http://schemas.microsoft.com/office/drawing/2014/main" id="{B899B9AB-0010-8A43-9A8D-70B9CE14723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1" name="Footer Placeholder 2">
            <a:extLst>
              <a:ext uri="{FF2B5EF4-FFF2-40B4-BE49-F238E27FC236}">
                <a16:creationId xmlns:a16="http://schemas.microsoft.com/office/drawing/2014/main" id="{D1C2EDA6-B7C6-2E4F-B5C2-0C1843A38AFD}"/>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32805608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7.5 - Divider BluePink1">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
        <p:nvSpPr>
          <p:cNvPr id="5" name="Text Placeholder 42">
            <a:extLst>
              <a:ext uri="{FF2B5EF4-FFF2-40B4-BE49-F238E27FC236}">
                <a16:creationId xmlns:a16="http://schemas.microsoft.com/office/drawing/2014/main" id="{513AFDC9-7EA7-195A-AC21-49A03E74AF4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4" name="Slide Number Placeholder 5">
            <a:extLst>
              <a:ext uri="{FF2B5EF4-FFF2-40B4-BE49-F238E27FC236}">
                <a16:creationId xmlns:a16="http://schemas.microsoft.com/office/drawing/2014/main" id="{B8EAC92C-19BC-5473-42AE-69A4371F286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3" name="Text Placeholder 42">
            <a:extLst>
              <a:ext uri="{FF2B5EF4-FFF2-40B4-BE49-F238E27FC236}">
                <a16:creationId xmlns:a16="http://schemas.microsoft.com/office/drawing/2014/main" id="{521CF4E5-14D0-7A0E-3B20-BC1F539D9BFE}"/>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
        <p:nvSpPr>
          <p:cNvPr id="10" name="TextBox 9">
            <a:extLst>
              <a:ext uri="{FF2B5EF4-FFF2-40B4-BE49-F238E27FC236}">
                <a16:creationId xmlns:a16="http://schemas.microsoft.com/office/drawing/2014/main" id="{3F521AEF-4CE6-1246-A32E-2FDA942E5B8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1" name="Footer Placeholder 2">
            <a:extLst>
              <a:ext uri="{FF2B5EF4-FFF2-40B4-BE49-F238E27FC236}">
                <a16:creationId xmlns:a16="http://schemas.microsoft.com/office/drawing/2014/main" id="{DA35EA45-6234-4D4F-B22D-CCB5D8CFDAB1}"/>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2825720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7.6 - Divider Pink1">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522A1BAB-7805-96E3-BA5B-3E8B26D8AA37}"/>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4" name="Slide Number Placeholder 5">
            <a:extLst>
              <a:ext uri="{FF2B5EF4-FFF2-40B4-BE49-F238E27FC236}">
                <a16:creationId xmlns:a16="http://schemas.microsoft.com/office/drawing/2014/main" id="{49857B24-CF63-C1F9-6FBA-114618B4AAB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4" name="Text Placeholder 42">
            <a:extLst>
              <a:ext uri="{FF2B5EF4-FFF2-40B4-BE49-F238E27FC236}">
                <a16:creationId xmlns:a16="http://schemas.microsoft.com/office/drawing/2014/main" id="{45165F11-ACDF-2F83-0960-B38B3A16DAD5}"/>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
        <p:nvSpPr>
          <p:cNvPr id="12" name="TextBox 11">
            <a:extLst>
              <a:ext uri="{FF2B5EF4-FFF2-40B4-BE49-F238E27FC236}">
                <a16:creationId xmlns:a16="http://schemas.microsoft.com/office/drawing/2014/main" id="{3AA0788F-29C9-F94B-8E4D-CAC2CB99F1D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6" name="Footer Placeholder 2">
            <a:extLst>
              <a:ext uri="{FF2B5EF4-FFF2-40B4-BE49-F238E27FC236}">
                <a16:creationId xmlns:a16="http://schemas.microsoft.com/office/drawing/2014/main" id="{75BA8045-DB48-BC4B-A6BB-4DAC9B8D7C08}"/>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23709798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7.7 - Divider Orange1">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
        <p:nvSpPr>
          <p:cNvPr id="4" name="Text Placeholder 42">
            <a:extLst>
              <a:ext uri="{FF2B5EF4-FFF2-40B4-BE49-F238E27FC236}">
                <a16:creationId xmlns:a16="http://schemas.microsoft.com/office/drawing/2014/main" id="{915CB6A6-17E7-3E33-E841-80BBD7036B36}"/>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4" name="Slide Number Placeholder 5">
            <a:extLst>
              <a:ext uri="{FF2B5EF4-FFF2-40B4-BE49-F238E27FC236}">
                <a16:creationId xmlns:a16="http://schemas.microsoft.com/office/drawing/2014/main" id="{4256B84B-A641-FF3B-04A5-7875DE216F3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3" name="Text Placeholder 42">
            <a:extLst>
              <a:ext uri="{FF2B5EF4-FFF2-40B4-BE49-F238E27FC236}">
                <a16:creationId xmlns:a16="http://schemas.microsoft.com/office/drawing/2014/main" id="{BFB53FB7-1753-80D0-CDCE-10664D914FBD}"/>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
        <p:nvSpPr>
          <p:cNvPr id="10" name="TextBox 9">
            <a:extLst>
              <a:ext uri="{FF2B5EF4-FFF2-40B4-BE49-F238E27FC236}">
                <a16:creationId xmlns:a16="http://schemas.microsoft.com/office/drawing/2014/main" id="{BD810B95-4147-904F-8E22-E525CA1EF00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4 Nokia</a:t>
            </a:r>
          </a:p>
        </p:txBody>
      </p:sp>
      <p:sp>
        <p:nvSpPr>
          <p:cNvPr id="11" name="Footer Placeholder 2">
            <a:extLst>
              <a:ext uri="{FF2B5EF4-FFF2-40B4-BE49-F238E27FC236}">
                <a16:creationId xmlns:a16="http://schemas.microsoft.com/office/drawing/2014/main" id="{E60FDE46-A46A-CC41-B843-F505EA427087}"/>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bg1"/>
                </a:solidFill>
              </a:defRPr>
            </a:lvl1pPr>
          </a:lstStyle>
          <a:p>
            <a:r>
              <a:rPr lang="en-US"/>
              <a:t>Apply a document ID (if applicable).</a:t>
            </a:r>
          </a:p>
        </p:txBody>
      </p:sp>
    </p:spTree>
    <p:extLst>
      <p:ext uri="{BB962C8B-B14F-4D97-AF65-F5344CB8AC3E}">
        <p14:creationId xmlns:p14="http://schemas.microsoft.com/office/powerpoint/2010/main" val="40429169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1 - End BlueGreen2">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113608E-22FD-657F-8D07-CD39EC97958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DA917A93-F7DB-3A50-D98B-8185FF15DE0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8D8095F-7FCC-5669-F881-F666192422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A8F3D3FE-D0C9-59C1-F189-DA228D51A05B}"/>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7F167DEA-E276-FD24-54AA-B4A09328CCE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5BDAA131-A001-A420-C695-237DBC40265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1289778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8.2 - End BlueGreen3">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BD7979C-B9C6-8A09-B241-FD1FED4BAC89}"/>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7B0CAF0-3BC0-2F0C-A2D6-BD2777136AB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DFE11313-A28D-C9D5-388D-F3DCE472D73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5423B194-3C18-4ED2-C954-ADB91F99CDD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A46B4C4-EAE8-DC64-8EE7-085376B9F0C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68AEA7C-4869-2294-8EAF-A87420CD474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1849010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8.3 - End BlueGreen5">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F97AAA9-D469-5AE4-F90F-9020A3DDBE0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C2E78338-BF1F-47F8-574E-5A79325DD1F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BEABEE7F-B8A9-CDE0-CB0E-B91BA834B8F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42EAFBE4-3E55-88EC-6263-AA83BE68E7C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55877F46-FE15-EE6B-7255-F5187038A7A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F62DDA2E-E23F-3C1F-FBA8-13E4AE5F35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38066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7 - 4xBulle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6E4EFAD0-0FC4-E541-B64B-AF51D326756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4" name="Slide Number Placeholder 5">
            <a:extLst>
              <a:ext uri="{FF2B5EF4-FFF2-40B4-BE49-F238E27FC236}">
                <a16:creationId xmlns:a16="http://schemas.microsoft.com/office/drawing/2014/main" id="{4259B6C5-25A0-3C40-BED8-8D8B128B818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B243AF6B-6BC9-454B-9224-DFC20FCEB497}"/>
              </a:ext>
            </a:extLst>
          </p:cNvPr>
          <p:cNvCxnSpPr>
            <a:cxnSpLocks/>
          </p:cNvCxnSpPr>
          <p:nvPr userDrawn="1"/>
        </p:nvCxnSpPr>
        <p:spPr>
          <a:xfrm>
            <a:off x="1403610" y="4842900"/>
            <a:ext cx="0" cy="144000"/>
          </a:xfrm>
          <a:prstGeom prst="line">
            <a:avLst/>
          </a:prstGeom>
          <a:noFill/>
          <a:ln w="6350" cap="flat" cmpd="sng" algn="ctr">
            <a:noFill/>
            <a:prstDash val="solid"/>
            <a:miter lim="800000"/>
          </a:ln>
          <a:effectLst/>
        </p:spPr>
      </p:cxnSp>
      <p:sp>
        <p:nvSpPr>
          <p:cNvPr id="17" name="Footer Placeholder 2">
            <a:extLst>
              <a:ext uri="{FF2B5EF4-FFF2-40B4-BE49-F238E27FC236}">
                <a16:creationId xmlns:a16="http://schemas.microsoft.com/office/drawing/2014/main" id="{131C6A76-5C94-BD49-ABDD-D8695D024A61}"/>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19578519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8.4 - End PurpleBlue2">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A77D7537-AB6E-150C-8EAC-2488703A5501}"/>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6DD48B6-4C1B-73D2-03B9-15D30FCE5E9E}"/>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64D70B58-DDCB-C449-2352-59773ED88AE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609F40CE-5FD9-0148-24E8-B471F0E808B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921AF8C9-7D93-7437-46E4-70C04BC1FCD9}"/>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4086F6C-E115-654F-39E3-04AE3FA5602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7527178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8.5 - End BluePink1">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39F40A4-C4FE-CE81-4DDE-1096BF05B1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04350EF6-70D2-8CA6-C8B4-23AD48C51B92}"/>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E3C5F24B-DEBE-91F4-60EF-98DB9598FC4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430F02E-A1F8-79E9-1749-B79A96144ED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FABBDCAD-55AC-A504-7AB9-9EA8B4E0982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870B6CA-17E5-8094-AABA-A4EB4CF4DD7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B471460-440F-63D0-B43A-D4E98094F4B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536942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6 - End Pink1">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1011232-FEC1-556E-5D81-2627C46F6D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305D3B8-631A-ECF6-F436-B2BCDEC1D146}"/>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5AA4292-461B-4E6C-D0DF-22D79FF5659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E83B83EF-F13E-0C9F-A72E-1028FFB5C1A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7583F4ED-E4FB-BC79-63D6-917602298C36}"/>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7AF8DF3-63F0-80CE-4E26-5256A0E0248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D0AD8F7-2131-0B88-1728-D3CA421A2D2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8426698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8.7 - Divider Orange1">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490672C-BECC-A8CE-2FB2-AF9FB16315DB}"/>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3EA2D57-26D4-3FE7-0AD1-EEED4BE8BED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3244009B-B9FA-D5C6-D5E3-5563DC7638F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2FD42FBA-921E-BB93-CEB5-51CAED5F599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ADC54FF-C0E3-D235-2C4E-2FB66C6E9ED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E3A682F-0F88-48F0-97B1-60B5B2477F9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5115654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8.8 - Divider White">
    <p:bg>
      <p:bgPr>
        <a:solidFill>
          <a:schemeClr val="bg1"/>
        </a:solidFill>
        <a:effectLst/>
      </p:bgPr>
    </p:bg>
    <p:spTree>
      <p:nvGrpSpPr>
        <p:cNvPr id="1" name=""/>
        <p:cNvGrpSpPr/>
        <p:nvPr/>
      </p:nvGrpSpPr>
      <p:grpSpPr>
        <a:xfrm>
          <a:off x="0" y="0"/>
          <a:ext cx="0" cy="0"/>
          <a:chOff x="0" y="0"/>
          <a:chExt cx="0" cy="0"/>
        </a:xfrm>
      </p:grpSpPr>
      <p:grpSp>
        <p:nvGrpSpPr>
          <p:cNvPr id="2" name="Graphic 3">
            <a:extLst>
              <a:ext uri="{FF2B5EF4-FFF2-40B4-BE49-F238E27FC236}">
                <a16:creationId xmlns:a16="http://schemas.microsoft.com/office/drawing/2014/main" id="{46DC4F6B-8D28-1514-E83F-9C8BC35CC881}"/>
              </a:ext>
            </a:extLst>
          </p:cNvPr>
          <p:cNvGrpSpPr/>
          <p:nvPr userDrawn="1"/>
        </p:nvGrpSpPr>
        <p:grpSpPr>
          <a:xfrm>
            <a:off x="1833317" y="1954988"/>
            <a:ext cx="5477366" cy="1233523"/>
            <a:chOff x="469958" y="1647414"/>
            <a:chExt cx="8205029" cy="1847802"/>
          </a:xfrm>
          <a:solidFill>
            <a:schemeClr val="accent1"/>
          </a:solidFill>
        </p:grpSpPr>
        <p:sp>
          <p:nvSpPr>
            <p:cNvPr id="3" name="Freeform 10">
              <a:extLst>
                <a:ext uri="{FF2B5EF4-FFF2-40B4-BE49-F238E27FC236}">
                  <a16:creationId xmlns:a16="http://schemas.microsoft.com/office/drawing/2014/main" id="{528AAC0C-F8F7-997C-49C5-2DDCFFEF4C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4" name="Freeform 11">
              <a:extLst>
                <a:ext uri="{FF2B5EF4-FFF2-40B4-BE49-F238E27FC236}">
                  <a16:creationId xmlns:a16="http://schemas.microsoft.com/office/drawing/2014/main" id="{709A296F-6430-7EEE-74D0-2B39CDE8E8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5" name="Freeform 12">
              <a:extLst>
                <a:ext uri="{FF2B5EF4-FFF2-40B4-BE49-F238E27FC236}">
                  <a16:creationId xmlns:a16="http://schemas.microsoft.com/office/drawing/2014/main" id="{98732BD3-7687-3964-C382-BE79A166885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6" name="Freeform 13">
              <a:extLst>
                <a:ext uri="{FF2B5EF4-FFF2-40B4-BE49-F238E27FC236}">
                  <a16:creationId xmlns:a16="http://schemas.microsoft.com/office/drawing/2014/main" id="{9F629670-5E2F-8BFA-0D73-6127F5336BE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B99146A-4055-2125-3098-1EF0E51C585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5239167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8 - Numbered">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tx2"/>
                </a:solidFill>
              </a:defRPr>
            </a:lvl1pPr>
            <a:lvl2pPr marL="408600" indent="-228600">
              <a:lnSpc>
                <a:spcPct val="100000"/>
              </a:lnSpc>
              <a:spcBef>
                <a:spcPts val="0"/>
              </a:spcBef>
              <a:spcAft>
                <a:spcPts val="600"/>
              </a:spcAft>
              <a:buFont typeface="+mj-lt"/>
              <a:buAutoNum type="arabicPeriod" startAt="2"/>
              <a:defRPr sz="1200">
                <a:solidFill>
                  <a:schemeClr val="tx2"/>
                </a:solidFill>
              </a:defRPr>
            </a:lvl2pPr>
            <a:lvl3pPr marL="588600" indent="-228600">
              <a:lnSpc>
                <a:spcPct val="100000"/>
              </a:lnSpc>
              <a:spcBef>
                <a:spcPts val="0"/>
              </a:spcBef>
              <a:spcAft>
                <a:spcPts val="600"/>
              </a:spcAft>
              <a:buFont typeface="+mj-lt"/>
              <a:buAutoNum type="arabicPeriod" startAt="3"/>
              <a:defRPr sz="1200">
                <a:solidFill>
                  <a:schemeClr val="tx2"/>
                </a:solidFill>
              </a:defRPr>
            </a:lvl3pPr>
            <a:lvl4pPr marL="768600" indent="-228600">
              <a:lnSpc>
                <a:spcPct val="100000"/>
              </a:lnSpc>
              <a:spcBef>
                <a:spcPts val="0"/>
              </a:spcBef>
              <a:spcAft>
                <a:spcPts val="600"/>
              </a:spcAft>
              <a:buFont typeface="+mj-lt"/>
              <a:buAutoNum type="arabicPeriod" startAt="4"/>
              <a:defRPr sz="1200">
                <a:solidFill>
                  <a:schemeClr val="tx2"/>
                </a:solidFill>
              </a:defRPr>
            </a:lvl4pPr>
            <a:lvl5pPr marL="957150" indent="-228600">
              <a:lnSpc>
                <a:spcPct val="100000"/>
              </a:lnSpc>
              <a:spcBef>
                <a:spcPts val="0"/>
              </a:spcBef>
              <a:spcAft>
                <a:spcPts val="600"/>
              </a:spcAft>
              <a:buFont typeface="+mj-lt"/>
              <a:buAutoNum type="arabicPeriod" startAt="5"/>
              <a:defRPr sz="1200">
                <a:solidFill>
                  <a:schemeClr val="tx2"/>
                </a:solidFill>
              </a:defRPr>
            </a:lvl5pPr>
          </a:lstStyle>
          <a:p>
            <a:pPr lvl="0"/>
            <a:r>
              <a:rPr lang="en-US"/>
              <a:t>Text here</a:t>
            </a:r>
          </a:p>
          <a:p>
            <a:pPr lvl="1"/>
            <a:r>
              <a:rPr lang="en-US"/>
              <a:t>Text here</a:t>
            </a:r>
          </a:p>
          <a:p>
            <a:pPr lvl="2"/>
            <a:r>
              <a:rPr lang="en-US"/>
              <a:t>Text here</a:t>
            </a:r>
          </a:p>
          <a:p>
            <a:pPr lvl="3"/>
            <a:r>
              <a:rPr lang="en-US"/>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BC0CEA6E-5B35-5543-8DCE-59127CE347C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a:solidFill>
                  <a:srgbClr val="001135"/>
                </a:solidFill>
                <a:ea typeface="Nokia Pure Text Light" panose="020B0304040602060303" pitchFamily="34" charset="0"/>
                <a:cs typeface="Nokia Pure Text Light" panose="020B0304040602060303" pitchFamily="34" charset="0"/>
              </a:rPr>
              <a:t>© 2024 Nokia</a:t>
            </a:r>
          </a:p>
        </p:txBody>
      </p:sp>
      <p:sp>
        <p:nvSpPr>
          <p:cNvPr id="11" name="Slide Number Placeholder 5">
            <a:extLst>
              <a:ext uri="{FF2B5EF4-FFF2-40B4-BE49-F238E27FC236}">
                <a16:creationId xmlns:a16="http://schemas.microsoft.com/office/drawing/2014/main" id="{AB63F6DD-0109-E040-9ED5-4B3967AF6492}"/>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sp>
        <p:nvSpPr>
          <p:cNvPr id="14" name="Footer Placeholder 2">
            <a:extLst>
              <a:ext uri="{FF2B5EF4-FFF2-40B4-BE49-F238E27FC236}">
                <a16:creationId xmlns:a16="http://schemas.microsoft.com/office/drawing/2014/main" id="{59EC6AFA-91FA-934A-A2BB-3EEBBCC573A2}"/>
              </a:ext>
            </a:extLst>
          </p:cNvPr>
          <p:cNvSpPr>
            <a:spLocks noGrp="1"/>
          </p:cNvSpPr>
          <p:nvPr>
            <p:ph type="ftr" sz="quarter" idx="3"/>
          </p:nvPr>
        </p:nvSpPr>
        <p:spPr>
          <a:xfrm>
            <a:off x="1504800" y="4860000"/>
            <a:ext cx="1584000" cy="122400"/>
          </a:xfrm>
          <a:prstGeom prst="rect">
            <a:avLst/>
          </a:prstGeom>
        </p:spPr>
        <p:txBody>
          <a:bodyPr vert="horz" lIns="0" tIns="0" rIns="0" bIns="0" rtlCol="0" anchor="b"/>
          <a:lstStyle>
            <a:lvl1pPr algn="l">
              <a:defRPr sz="800">
                <a:solidFill>
                  <a:schemeClr val="tx2"/>
                </a:solidFill>
              </a:defRPr>
            </a:lvl1pPr>
          </a:lstStyle>
          <a:p>
            <a:r>
              <a:rPr lang="en-US"/>
              <a:t>Apply a document ID (if applicable).</a:t>
            </a:r>
          </a:p>
        </p:txBody>
      </p:sp>
    </p:spTree>
    <p:extLst>
      <p:ext uri="{BB962C8B-B14F-4D97-AF65-F5344CB8AC3E}">
        <p14:creationId xmlns:p14="http://schemas.microsoft.com/office/powerpoint/2010/main" val="123146876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891639"/>
      </p:ext>
    </p:extLst>
  </p:cSld>
  <p:clrMap bg1="lt1" tx1="dk1" bg2="lt2" tx2="dk2" accent1="accent1" accent2="accent2" accent3="accent3" accent4="accent4" accent5="accent5" accent6="accent6" hlink="hlink" folHlink="folHlink"/>
  <p:sldLayoutIdLst>
    <p:sldLayoutId id="2147483663" r:id="rId1"/>
    <p:sldLayoutId id="2147483726" r:id="rId2"/>
    <p:sldLayoutId id="2147483847" r:id="rId3"/>
    <p:sldLayoutId id="2147483776" r:id="rId4"/>
    <p:sldLayoutId id="2147483778" r:id="rId5"/>
    <p:sldLayoutId id="2147483779" r:id="rId6"/>
    <p:sldLayoutId id="2147483780" r:id="rId7"/>
    <p:sldLayoutId id="2147483781" r:id="rId8"/>
    <p:sldLayoutId id="2147483777" r:id="rId9"/>
    <p:sldLayoutId id="2147483796" r:id="rId10"/>
    <p:sldLayoutId id="2147483763" r:id="rId11"/>
    <p:sldLayoutId id="2147483852" r:id="rId12"/>
    <p:sldLayoutId id="2147483850" r:id="rId13"/>
    <p:sldLayoutId id="2147483794" r:id="rId14"/>
    <p:sldLayoutId id="2147483775" r:id="rId15"/>
    <p:sldLayoutId id="2147483848" r:id="rId16"/>
    <p:sldLayoutId id="2147484037" r:id="rId17"/>
    <p:sldLayoutId id="2147484038" r:id="rId18"/>
    <p:sldLayoutId id="214748379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 id="2147483824" r:id="rId28"/>
    <p:sldLayoutId id="2147483753" r:id="rId29"/>
    <p:sldLayoutId id="2147483757" r:id="rId30"/>
    <p:sldLayoutId id="2147483758" r:id="rId31"/>
    <p:sldLayoutId id="2147483835" r:id="rId32"/>
    <p:sldLayoutId id="2147483840" r:id="rId33"/>
    <p:sldLayoutId id="2147483843" r:id="rId34"/>
    <p:sldLayoutId id="2147483921" r:id="rId35"/>
    <p:sldLayoutId id="2147483922" r:id="rId36"/>
    <p:sldLayoutId id="2147483924" r:id="rId37"/>
    <p:sldLayoutId id="2147484021" r:id="rId38"/>
    <p:sldLayoutId id="2147483815" r:id="rId39"/>
    <p:sldLayoutId id="2147483760" r:id="rId40"/>
    <p:sldLayoutId id="2147483761" r:id="rId41"/>
    <p:sldLayoutId id="2147483762" r:id="rId42"/>
    <p:sldLayoutId id="2147483846" r:id="rId43"/>
    <p:sldLayoutId id="2147483929" r:id="rId44"/>
    <p:sldLayoutId id="2147483836" r:id="rId45"/>
    <p:sldLayoutId id="2147483845" r:id="rId46"/>
    <p:sldLayoutId id="2147483841" r:id="rId47"/>
    <p:sldLayoutId id="2147483849" r:id="rId48"/>
    <p:sldLayoutId id="2147483844" r:id="rId49"/>
    <p:sldLayoutId id="2147483859" r:id="rId50"/>
    <p:sldLayoutId id="2147483861" r:id="rId51"/>
    <p:sldLayoutId id="2147483860" r:id="rId52"/>
    <p:sldLayoutId id="2147483923" r:id="rId53"/>
    <p:sldLayoutId id="2147483774" r:id="rId54"/>
    <p:sldLayoutId id="2147483755" r:id="rId55"/>
    <p:sldLayoutId id="2147483756" r:id="rId56"/>
    <p:sldLayoutId id="2147483793" r:id="rId57"/>
    <p:sldLayoutId id="2147483926" r:id="rId58"/>
    <p:sldLayoutId id="2147483927" r:id="rId59"/>
    <p:sldLayoutId id="2147483928" r:id="rId60"/>
    <p:sldLayoutId id="2147483837" r:id="rId61"/>
    <p:sldLayoutId id="2147484014" r:id="rId62"/>
    <p:sldLayoutId id="2147484013" r:id="rId63"/>
    <p:sldLayoutId id="2147483839" r:id="rId64"/>
    <p:sldLayoutId id="2147483842" r:id="rId65"/>
    <p:sldLayoutId id="2147483862" r:id="rId66"/>
    <p:sldLayoutId id="2147483858" r:id="rId67"/>
    <p:sldLayoutId id="2147483925" r:id="rId68"/>
    <p:sldLayoutId id="2147483814" r:id="rId69"/>
    <p:sldLayoutId id="2147483751" r:id="rId70"/>
    <p:sldLayoutId id="2147483746" r:id="rId71"/>
    <p:sldLayoutId id="2147483791" r:id="rId72"/>
    <p:sldLayoutId id="2147483749" r:id="rId73"/>
    <p:sldLayoutId id="2147483747" r:id="rId74"/>
    <p:sldLayoutId id="2147483748" r:id="rId75"/>
    <p:sldLayoutId id="2147483750" r:id="rId76"/>
    <p:sldLayoutId id="2147483772" r:id="rId77"/>
    <p:sldLayoutId id="2147483677" r:id="rId78"/>
    <p:sldLayoutId id="2147483792" r:id="rId79"/>
    <p:sldLayoutId id="2147483833" r:id="rId80"/>
    <p:sldLayoutId id="2147483769" r:id="rId81"/>
    <p:sldLayoutId id="2147483773" r:id="rId82"/>
    <p:sldLayoutId id="2147483771" r:id="rId83"/>
    <p:sldLayoutId id="2147483679" r:id="rId84"/>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6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77.PNG"/><Relationship Id="rId4" Type="http://schemas.openxmlformats.org/officeDocument/2006/relationships/image" Target="../media/image6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78.PNG"/><Relationship Id="rId4" Type="http://schemas.openxmlformats.org/officeDocument/2006/relationships/image" Target="../media/image6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79.png"/><Relationship Id="rId4" Type="http://schemas.openxmlformats.org/officeDocument/2006/relationships/image" Target="../media/image6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80.jpeg"/><Relationship Id="rId4" Type="http://schemas.openxmlformats.org/officeDocument/2006/relationships/image" Target="../media/image67.emf"/></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bin"/><Relationship Id="rId7" Type="http://schemas.openxmlformats.org/officeDocument/2006/relationships/diagramQuickStyle" Target="../diagrams/quickStyle2.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67.emf"/><Relationship Id="rId9" Type="http://schemas.microsoft.com/office/2007/relationships/diagramDrawing" Target="../diagrams/drawing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67.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67.emf"/></Relationships>
</file>

<file path=ppt/slides/_rels/slide19.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1.bin"/><Relationship Id="rId7" Type="http://schemas.openxmlformats.org/officeDocument/2006/relationships/diagramQuickStyle" Target="../diagrams/quickStyle3.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67.emf"/><Relationship Id="rId9" Type="http://schemas.microsoft.com/office/2007/relationships/diagramDrawing" Target="../diagrams/drawing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4.jpeg"/><Relationship Id="rId1" Type="http://schemas.openxmlformats.org/officeDocument/2006/relationships/slideLayout" Target="../slideLayouts/slideLayout13.xml"/><Relationship Id="rId4" Type="http://schemas.openxmlformats.org/officeDocument/2006/relationships/image" Target="../media/image65.svg"/></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oleObject" Target="../embeddings/oleObject1.bin"/><Relationship Id="rId7" Type="http://schemas.openxmlformats.org/officeDocument/2006/relationships/diagramQuickStyle" Target="../diagrams/quickStyle4.xm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67.emf"/><Relationship Id="rId9" Type="http://schemas.microsoft.com/office/2007/relationships/diagramDrawing" Target="../diagrams/drawing4.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oleObject" Target="../embeddings/oleObject1.bin"/><Relationship Id="rId7" Type="http://schemas.openxmlformats.org/officeDocument/2006/relationships/diagramQuickStyle" Target="../diagrams/quickStyle5.xm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67.emf"/><Relationship Id="rId9" Type="http://schemas.microsoft.com/office/2007/relationships/diagramDrawing" Target="../diagrams/drawing5.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oleObject" Target="../embeddings/oleObject1.bin"/><Relationship Id="rId7" Type="http://schemas.openxmlformats.org/officeDocument/2006/relationships/diagramQuickStyle" Target="../diagrams/quickStyle6.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67.emf"/><Relationship Id="rId9" Type="http://schemas.microsoft.com/office/2007/relationships/diagramDrawing" Target="../diagrams/drawing6.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81.png"/><Relationship Id="rId4" Type="http://schemas.openxmlformats.org/officeDocument/2006/relationships/image" Target="../media/image6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82.png"/><Relationship Id="rId4" Type="http://schemas.openxmlformats.org/officeDocument/2006/relationships/image" Target="../media/image67.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1.xml"/><Relationship Id="rId7" Type="http://schemas.openxmlformats.org/officeDocument/2006/relationships/image" Target="../media/image68.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67.emf"/><Relationship Id="rId11" Type="http://schemas.openxmlformats.org/officeDocument/2006/relationships/image" Target="../media/image72.jpeg"/><Relationship Id="rId5" Type="http://schemas.openxmlformats.org/officeDocument/2006/relationships/oleObject" Target="../embeddings/oleObject1.bin"/><Relationship Id="rId10" Type="http://schemas.openxmlformats.org/officeDocument/2006/relationships/image" Target="../media/image71.jpeg"/><Relationship Id="rId4" Type="http://schemas.openxmlformats.org/officeDocument/2006/relationships/image" Target="../media/image66.jpeg"/><Relationship Id="rId9" Type="http://schemas.openxmlformats.org/officeDocument/2006/relationships/image" Target="../media/image70.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67.emf"/></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67.emf"/><Relationship Id="rId9" Type="http://schemas.microsoft.com/office/2007/relationships/diagramDrawing" Target="../diagrams/drawing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73.jpg"/><Relationship Id="rId5" Type="http://schemas.openxmlformats.org/officeDocument/2006/relationships/hyperlink" Target="https://agilemanifesto.org/principles.html" TargetMode="External"/><Relationship Id="rId4" Type="http://schemas.openxmlformats.org/officeDocument/2006/relationships/image" Target="../media/image67.emf"/></Relationships>
</file>

<file path=ppt/slides/_rels/slide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67.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75.png"/><Relationship Id="rId4" Type="http://schemas.openxmlformats.org/officeDocument/2006/relationships/image" Target="../media/image6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76.png"/><Relationship Id="rId4" Type="http://schemas.openxmlformats.org/officeDocument/2006/relationships/image" Target="../media/image6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77D4DD-EA45-E69B-6F1D-7EB2B8B60138}"/>
              </a:ext>
            </a:extLst>
          </p:cNvPr>
          <p:cNvSpPr>
            <a:spLocks noGrp="1"/>
          </p:cNvSpPr>
          <p:nvPr>
            <p:ph type="title"/>
          </p:nvPr>
        </p:nvSpPr>
        <p:spPr>
          <a:xfrm>
            <a:off x="4788977" y="581137"/>
            <a:ext cx="4015503" cy="1244465"/>
          </a:xfrm>
        </p:spPr>
        <p:txBody>
          <a:bodyPr/>
          <a:lstStyle/>
          <a:p>
            <a:r>
              <a:rPr lang="en-US" dirty="0"/>
              <a:t>Introduction to Containerization and Cloud</a:t>
            </a:r>
            <a:endParaRPr lang="en-IN" dirty="0"/>
          </a:p>
        </p:txBody>
      </p:sp>
      <p:sp>
        <p:nvSpPr>
          <p:cNvPr id="2" name="TextBox 1">
            <a:extLst>
              <a:ext uri="{FF2B5EF4-FFF2-40B4-BE49-F238E27FC236}">
                <a16:creationId xmlns:a16="http://schemas.microsoft.com/office/drawing/2014/main" id="{D4479833-12B0-5962-3BE1-908887756C81}"/>
              </a:ext>
            </a:extLst>
          </p:cNvPr>
          <p:cNvSpPr txBox="1"/>
          <p:nvPr/>
        </p:nvSpPr>
        <p:spPr>
          <a:xfrm>
            <a:off x="4788977" y="2775626"/>
            <a:ext cx="1598853" cy="259404"/>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en-IN" sz="1600" b="0" i="0" u="none" strike="noStrike" kern="1200" cap="none" spc="0" normalizeH="0" baseline="0" noProof="0" dirty="0">
                <a:ln>
                  <a:noFill/>
                </a:ln>
                <a:solidFill>
                  <a:schemeClr val="bg1"/>
                </a:solidFill>
                <a:effectLst/>
                <a:uLnTx/>
                <a:uFillTx/>
                <a:latin typeface="Nokia Pure Text Light"/>
                <a:ea typeface="+mn-ea"/>
                <a:cs typeface="+mn-cs"/>
              </a:rPr>
              <a:t>- Sankara </a:t>
            </a:r>
            <a:r>
              <a:rPr lang="en-IN" sz="1600" dirty="0">
                <a:solidFill>
                  <a:schemeClr val="bg1"/>
                </a:solidFill>
                <a:latin typeface="Nokia Pure Text Light"/>
              </a:rPr>
              <a:t>N</a:t>
            </a:r>
            <a:r>
              <a:rPr kumimoji="0" lang="en-IN" sz="1600" b="0" i="0" u="none" strike="noStrike" kern="1200" cap="none" spc="0" normalizeH="0" baseline="0" noProof="0" dirty="0" err="1">
                <a:ln>
                  <a:noFill/>
                </a:ln>
                <a:solidFill>
                  <a:schemeClr val="bg1"/>
                </a:solidFill>
                <a:effectLst/>
                <a:uLnTx/>
                <a:uFillTx/>
                <a:latin typeface="Nokia Pure Text Light"/>
                <a:ea typeface="+mn-ea"/>
                <a:cs typeface="+mn-cs"/>
              </a:rPr>
              <a:t>arayanan</a:t>
            </a:r>
            <a:endParaRPr kumimoji="0" lang="en-IN" sz="1600" b="0" i="0" u="none" strike="noStrike" kern="1200" cap="none" spc="0" normalizeH="0" baseline="0" noProof="0" dirty="0">
              <a:ln>
                <a:noFill/>
              </a:ln>
              <a:solidFill>
                <a:schemeClr val="bg1"/>
              </a:solidFill>
              <a:effectLst/>
              <a:uLnTx/>
              <a:uFillTx/>
              <a:latin typeface="Nokia Pure Text Light"/>
              <a:ea typeface="+mn-ea"/>
              <a:cs typeface="+mn-cs"/>
            </a:endParaRPr>
          </a:p>
        </p:txBody>
      </p:sp>
    </p:spTree>
    <p:extLst>
      <p:ext uri="{BB962C8B-B14F-4D97-AF65-F5344CB8AC3E}">
        <p14:creationId xmlns:p14="http://schemas.microsoft.com/office/powerpoint/2010/main" val="730645121"/>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B9B56E-D788-D1E2-64CA-AFCD34232234}"/>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7B3328-35F3-399D-5E7D-90B2C2A1A0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B48BC799-CAA5-660C-6011-178A7B77361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0225474-C083-6BB0-2A98-48BD381A0931}"/>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ey Changes in Software Delivery &amp; Deployment</a:t>
            </a:r>
          </a:p>
        </p:txBody>
      </p:sp>
      <p:sp>
        <p:nvSpPr>
          <p:cNvPr id="3" name="Text Placeholder 3">
            <a:extLst>
              <a:ext uri="{FF2B5EF4-FFF2-40B4-BE49-F238E27FC236}">
                <a16:creationId xmlns:a16="http://schemas.microsoft.com/office/drawing/2014/main" id="{476E51FD-AFC7-AAA2-87D8-4FEBD341B4D1}"/>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49169159-68D4-78FB-E9DD-5ECCF0913D2D}"/>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8A557620-EB1F-A191-33D7-7742685C3E55}"/>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Why Virtual Machine ?</a:t>
            </a:r>
          </a:p>
        </p:txBody>
      </p:sp>
      <p:sp>
        <p:nvSpPr>
          <p:cNvPr id="13" name="TextBox 12">
            <a:extLst>
              <a:ext uri="{FF2B5EF4-FFF2-40B4-BE49-F238E27FC236}">
                <a16:creationId xmlns:a16="http://schemas.microsoft.com/office/drawing/2014/main" id="{BB590D48-159D-20A1-354F-CD74DA95223B}"/>
              </a:ext>
            </a:extLst>
          </p:cNvPr>
          <p:cNvSpPr txBox="1"/>
          <p:nvPr/>
        </p:nvSpPr>
        <p:spPr>
          <a:xfrm>
            <a:off x="323850" y="1008529"/>
            <a:ext cx="8402550" cy="3543204"/>
          </a:xfrm>
          <a:prstGeom prst="rect">
            <a:avLst/>
          </a:prstGeom>
          <a:noFill/>
          <a:ln>
            <a:noFill/>
          </a:ln>
        </p:spPr>
        <p:txBody>
          <a:bodyPr wrap="square" lIns="0" tIns="0" rIns="0" bIns="0" rtlCol="0">
            <a:noAutofit/>
          </a:bodyPr>
          <a:lstStyle/>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Virtual Machine Technology itself is available from 1970’s onwards. When resource is scarce a single mainframe need to be shared by many process. </a:t>
            </a:r>
          </a:p>
          <a:p>
            <a:pPr defTabSz="180000">
              <a:spcAft>
                <a:spcPts val="300"/>
              </a:spcAft>
              <a:tabLst>
                <a:tab pos="180000" algn="l"/>
              </a:tabLst>
            </a:pPr>
            <a:endParaRPr lang="en-US" sz="1200" dirty="0">
              <a:solidFill>
                <a:schemeClr val="tx2"/>
              </a:solidFill>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First commercial VM system (1972), allowing multiple guest OS instances on IBM mainframes</a:t>
            </a:r>
          </a:p>
          <a:p>
            <a:pPr defTabSz="180000">
              <a:spcAft>
                <a:spcPts val="300"/>
              </a:spcAft>
              <a:tabLst>
                <a:tab pos="180000" algn="l"/>
              </a:tabLst>
            </a:pPr>
            <a:endParaRPr lang="en-US" sz="1200" dirty="0">
              <a:solidFill>
                <a:schemeClr val="tx2"/>
              </a:solidFill>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1980s saw a decline of Virtual Machines with the rise of PCs</a:t>
            </a:r>
          </a:p>
          <a:p>
            <a:pPr marL="171450" indent="-171450" defTabSz="180000">
              <a:spcAft>
                <a:spcPts val="300"/>
              </a:spcAft>
              <a:buFont typeface="Wingdings" panose="05000000000000000000" pitchFamily="2" charset="2"/>
              <a:buChar char="Ø"/>
              <a:tabLst>
                <a:tab pos="180000" algn="l"/>
              </a:tabLst>
            </a:pPr>
            <a:endParaRPr lang="en-US" sz="1200" dirty="0">
              <a:solidFill>
                <a:schemeClr val="tx2"/>
              </a:solidFill>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With the emergence of Centralized Datacenters and cloud, virtualization re-emerged as a key technology enabling cloud machines. New Virtualization technologies are optimized to reduce the overhead under 3 %</a:t>
            </a:r>
          </a:p>
          <a:p>
            <a:pPr defTabSz="180000">
              <a:spcAft>
                <a:spcPts val="300"/>
              </a:spcAft>
              <a:tabLst>
                <a:tab pos="180000" algn="l"/>
              </a:tabLst>
            </a:pPr>
            <a:endParaRPr lang="en-US" sz="1200" dirty="0">
              <a:solidFill>
                <a:schemeClr val="tx2"/>
              </a:solidFill>
            </a:endParaRPr>
          </a:p>
        </p:txBody>
      </p:sp>
    </p:spTree>
    <p:extLst>
      <p:ext uri="{BB962C8B-B14F-4D97-AF65-F5344CB8AC3E}">
        <p14:creationId xmlns:p14="http://schemas.microsoft.com/office/powerpoint/2010/main" val="122088502"/>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DFCB8-38BE-DE4D-C1FA-AE016C8AA192}"/>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412B0E1-D4C4-2688-29BB-AD6CAF212BF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4412B0E1-D4C4-2688-29BB-AD6CAF212BF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8BF197E-321A-5135-D5C4-E83FFE9C16BC}"/>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ey Changes in Software Architecture</a:t>
            </a:r>
          </a:p>
        </p:txBody>
      </p:sp>
      <p:sp>
        <p:nvSpPr>
          <p:cNvPr id="3" name="Text Placeholder 3">
            <a:extLst>
              <a:ext uri="{FF2B5EF4-FFF2-40B4-BE49-F238E27FC236}">
                <a16:creationId xmlns:a16="http://schemas.microsoft.com/office/drawing/2014/main" id="{37CA3A18-A4E8-D0E9-3235-831B8B453BA5}"/>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5B3A2007-5B09-B869-9BF3-93482D4551C1}"/>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A7791962-0233-47FB-EC6D-9ED67D39D3B1}"/>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Monolith – Legacy</a:t>
            </a:r>
          </a:p>
        </p:txBody>
      </p:sp>
      <p:cxnSp>
        <p:nvCxnSpPr>
          <p:cNvPr id="11" name="Straight Connector 10">
            <a:extLst>
              <a:ext uri="{FF2B5EF4-FFF2-40B4-BE49-F238E27FC236}">
                <a16:creationId xmlns:a16="http://schemas.microsoft.com/office/drawing/2014/main" id="{0A612D86-6D54-EA78-08E6-9EBF6A397919}"/>
              </a:ext>
            </a:extLst>
          </p:cNvPr>
          <p:cNvCxnSpPr>
            <a:cxnSpLocks/>
          </p:cNvCxnSpPr>
          <p:nvPr/>
        </p:nvCxnSpPr>
        <p:spPr>
          <a:xfrm flipH="1">
            <a:off x="4720815" y="817469"/>
            <a:ext cx="12700" cy="3785161"/>
          </a:xfrm>
          <a:prstGeom prst="line">
            <a:avLst/>
          </a:prstGeom>
          <a:ln w="6350">
            <a:solidFill>
              <a:schemeClr val="tx1">
                <a:lumMod val="50000"/>
              </a:schemeClr>
            </a:solidFill>
          </a:ln>
        </p:spPr>
        <p:style>
          <a:lnRef idx="1">
            <a:schemeClr val="accent6"/>
          </a:lnRef>
          <a:fillRef idx="0">
            <a:schemeClr val="accent6"/>
          </a:fillRef>
          <a:effectRef idx="0">
            <a:schemeClr val="accent6"/>
          </a:effectRef>
          <a:fontRef idx="minor">
            <a:schemeClr val="tx1"/>
          </a:fontRef>
        </p:style>
      </p:cxnSp>
      <p:sp>
        <p:nvSpPr>
          <p:cNvPr id="13" name="TextBox 12">
            <a:extLst>
              <a:ext uri="{FF2B5EF4-FFF2-40B4-BE49-F238E27FC236}">
                <a16:creationId xmlns:a16="http://schemas.microsoft.com/office/drawing/2014/main" id="{38586BEA-F2E8-7852-9C07-DE5F451928AB}"/>
              </a:ext>
            </a:extLst>
          </p:cNvPr>
          <p:cNvSpPr txBox="1"/>
          <p:nvPr/>
        </p:nvSpPr>
        <p:spPr>
          <a:xfrm>
            <a:off x="4946209" y="1077254"/>
            <a:ext cx="3728950" cy="3750798"/>
          </a:xfrm>
          <a:prstGeom prst="rect">
            <a:avLst/>
          </a:prstGeom>
          <a:noFill/>
          <a:ln>
            <a:noFill/>
          </a:ln>
        </p:spPr>
        <p:txBody>
          <a:bodyPr wrap="square" lIns="0" tIns="0" rIns="0" bIns="0" rtlCol="0">
            <a:noAutofit/>
          </a:bodyPr>
          <a:lstStyle/>
          <a:p>
            <a:pPr marR="0" algn="l" defTabSz="180000" rtl="0" eaLnBrk="1" fontAlgn="auto" latinLnBrk="0" hangingPunct="1">
              <a:lnSpc>
                <a:spcPct val="100000"/>
              </a:lnSpc>
              <a:spcBef>
                <a:spcPts val="0"/>
              </a:spcBef>
              <a:spcAft>
                <a:spcPts val="300"/>
              </a:spcAft>
              <a:buClrTx/>
              <a:buSzTx/>
              <a:tabLst>
                <a:tab pos="180000" algn="l"/>
              </a:tabLst>
            </a:pPr>
            <a:endParaRPr lang="en-IN" sz="1200" dirty="0">
              <a:solidFill>
                <a:schemeClr val="tx2"/>
              </a:solidFill>
              <a:latin typeface="Nokia Pure Text Light"/>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Monolith Application runs as a single process</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All modules / functionalities is served by the same process</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Usually served by a dedicated server</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Api calls are direct function calls</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The entire application should follow the same tech stack and code base</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Delivery is a Single set of binary</a:t>
            </a:r>
          </a:p>
        </p:txBody>
      </p:sp>
      <p:pic>
        <p:nvPicPr>
          <p:cNvPr id="9" name="Picture 8">
            <a:extLst>
              <a:ext uri="{FF2B5EF4-FFF2-40B4-BE49-F238E27FC236}">
                <a16:creationId xmlns:a16="http://schemas.microsoft.com/office/drawing/2014/main" id="{962FD68C-61B2-C79C-CDEF-9973FEDB197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80466" y="1008529"/>
            <a:ext cx="2477681" cy="3750798"/>
          </a:xfrm>
          <a:prstGeom prst="rect">
            <a:avLst/>
          </a:prstGeom>
        </p:spPr>
      </p:pic>
    </p:spTree>
    <p:extLst>
      <p:ext uri="{BB962C8B-B14F-4D97-AF65-F5344CB8AC3E}">
        <p14:creationId xmlns:p14="http://schemas.microsoft.com/office/powerpoint/2010/main" val="3711314441"/>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5C930-A8B6-E836-C397-B567CCE8C2F3}"/>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6E52E93-5180-A273-1C18-7541418453C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A6E52E93-5180-A273-1C18-7541418453C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B30B7AC-FD28-BD0B-B9B3-6A4FEEB3188A}"/>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ey Changes in Software Architecture</a:t>
            </a:r>
          </a:p>
        </p:txBody>
      </p:sp>
      <p:sp>
        <p:nvSpPr>
          <p:cNvPr id="3" name="Text Placeholder 3">
            <a:extLst>
              <a:ext uri="{FF2B5EF4-FFF2-40B4-BE49-F238E27FC236}">
                <a16:creationId xmlns:a16="http://schemas.microsoft.com/office/drawing/2014/main" id="{F1AAFADC-DFBE-5148-65E9-7D2D04442741}"/>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4D3FC884-9307-7CC2-BFBA-ECC9C5EDCA21}"/>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8A1D10CC-5CCC-DA05-FCD4-8E15A7B78747}"/>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Microservices – Current</a:t>
            </a:r>
          </a:p>
        </p:txBody>
      </p:sp>
      <p:cxnSp>
        <p:nvCxnSpPr>
          <p:cNvPr id="11" name="Straight Connector 10">
            <a:extLst>
              <a:ext uri="{FF2B5EF4-FFF2-40B4-BE49-F238E27FC236}">
                <a16:creationId xmlns:a16="http://schemas.microsoft.com/office/drawing/2014/main" id="{155CED96-D285-75CA-8E1D-D66881C20313}"/>
              </a:ext>
            </a:extLst>
          </p:cNvPr>
          <p:cNvCxnSpPr>
            <a:cxnSpLocks/>
          </p:cNvCxnSpPr>
          <p:nvPr/>
        </p:nvCxnSpPr>
        <p:spPr>
          <a:xfrm flipH="1">
            <a:off x="4720815" y="817469"/>
            <a:ext cx="12700" cy="3785161"/>
          </a:xfrm>
          <a:prstGeom prst="line">
            <a:avLst/>
          </a:prstGeom>
          <a:ln w="6350">
            <a:solidFill>
              <a:schemeClr val="tx1">
                <a:lumMod val="50000"/>
              </a:schemeClr>
            </a:solidFill>
          </a:ln>
        </p:spPr>
        <p:style>
          <a:lnRef idx="1">
            <a:schemeClr val="accent6"/>
          </a:lnRef>
          <a:fillRef idx="0">
            <a:schemeClr val="accent6"/>
          </a:fillRef>
          <a:effectRef idx="0">
            <a:schemeClr val="accent6"/>
          </a:effectRef>
          <a:fontRef idx="minor">
            <a:schemeClr val="tx1"/>
          </a:fontRef>
        </p:style>
      </p:cxnSp>
      <p:sp>
        <p:nvSpPr>
          <p:cNvPr id="13" name="TextBox 12">
            <a:extLst>
              <a:ext uri="{FF2B5EF4-FFF2-40B4-BE49-F238E27FC236}">
                <a16:creationId xmlns:a16="http://schemas.microsoft.com/office/drawing/2014/main" id="{57F619AB-96BD-3C47-BF84-0D1D3812DF83}"/>
              </a:ext>
            </a:extLst>
          </p:cNvPr>
          <p:cNvSpPr txBox="1"/>
          <p:nvPr/>
        </p:nvSpPr>
        <p:spPr>
          <a:xfrm>
            <a:off x="4946209" y="1077254"/>
            <a:ext cx="3728950" cy="3750798"/>
          </a:xfrm>
          <a:prstGeom prst="rect">
            <a:avLst/>
          </a:prstGeom>
          <a:noFill/>
          <a:ln>
            <a:noFill/>
          </a:ln>
        </p:spPr>
        <p:txBody>
          <a:bodyPr wrap="square" lIns="0" tIns="0" rIns="0" bIns="0" rtlCol="0">
            <a:noAutofit/>
          </a:bodyPr>
          <a:lstStyle/>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Microservices is an architectural style where an application is built as a collection of small, independent services that communicate via APIs. </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Each service is designed to perform a specific function and can be developed, deployed, and scaled independently (ex. web assets, catalog service, order service, discount service, recommendation service, messaging service)</a:t>
            </a:r>
            <a:endParaRPr lang="en-IN" sz="1200" dirty="0">
              <a:solidFill>
                <a:schemeClr val="tx2"/>
              </a:solidFill>
              <a:latin typeface="Nokia Pure Text Light"/>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Usually delivered as containers and served by an embedded server</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Api calls are made over network</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Different application can have different tech stack and code base</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Usually Delivered as set of containers and helm charts</a:t>
            </a:r>
          </a:p>
        </p:txBody>
      </p:sp>
      <p:pic>
        <p:nvPicPr>
          <p:cNvPr id="9" name="Picture 8">
            <a:extLst>
              <a:ext uri="{FF2B5EF4-FFF2-40B4-BE49-F238E27FC236}">
                <a16:creationId xmlns:a16="http://schemas.microsoft.com/office/drawing/2014/main" id="{8714F4DE-D353-3EDA-1F98-E8223ACA59C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55891" y="946150"/>
            <a:ext cx="2966045" cy="3541886"/>
          </a:xfrm>
          <a:prstGeom prst="rect">
            <a:avLst/>
          </a:prstGeom>
        </p:spPr>
      </p:pic>
    </p:spTree>
    <p:extLst>
      <p:ext uri="{BB962C8B-B14F-4D97-AF65-F5344CB8AC3E}">
        <p14:creationId xmlns:p14="http://schemas.microsoft.com/office/powerpoint/2010/main" val="1890021895"/>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5EFA3-5D67-3563-D3F7-387623E94229}"/>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213CD6-D2CD-AA5F-1FB1-8AA4C282319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D67B3328-35F3-399D-5E7D-90B2C2A1A0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4101515-248F-3C12-6B65-57D48F8424BA}"/>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Containers</a:t>
            </a:r>
          </a:p>
        </p:txBody>
      </p:sp>
      <p:sp>
        <p:nvSpPr>
          <p:cNvPr id="3" name="Text Placeholder 3">
            <a:extLst>
              <a:ext uri="{FF2B5EF4-FFF2-40B4-BE49-F238E27FC236}">
                <a16:creationId xmlns:a16="http://schemas.microsoft.com/office/drawing/2014/main" id="{F466BEAB-D1D9-3C9C-1612-DDD3DA20BF3C}"/>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5A08773E-B0D0-B211-2145-3BA026695CEC}"/>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5596B300-7D58-04FD-2398-407B4D34DE5B}"/>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Platform and Dependencies issues</a:t>
            </a:r>
          </a:p>
        </p:txBody>
      </p:sp>
      <p:sp>
        <p:nvSpPr>
          <p:cNvPr id="13" name="TextBox 12">
            <a:extLst>
              <a:ext uri="{FF2B5EF4-FFF2-40B4-BE49-F238E27FC236}">
                <a16:creationId xmlns:a16="http://schemas.microsoft.com/office/drawing/2014/main" id="{17159F2F-E1A1-7274-E2C1-3CDB5295CCF5}"/>
              </a:ext>
            </a:extLst>
          </p:cNvPr>
          <p:cNvSpPr txBox="1"/>
          <p:nvPr/>
        </p:nvSpPr>
        <p:spPr>
          <a:xfrm>
            <a:off x="3458056" y="1241794"/>
            <a:ext cx="5381144" cy="3474479"/>
          </a:xfrm>
          <a:prstGeom prst="rect">
            <a:avLst/>
          </a:prstGeom>
          <a:noFill/>
          <a:ln>
            <a:noFill/>
          </a:ln>
        </p:spPr>
        <p:txBody>
          <a:bodyPr wrap="square" lIns="0" tIns="0" rIns="0" bIns="0" rtlCol="0">
            <a:noAutofit/>
          </a:bodyPr>
          <a:lstStyle/>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Microservices Architecture approach led to the split of single app to multiple services. </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Multiple services led to complexity in managing dependencies and platform environments</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This led to additional complexities in production environments especially when there are multiple services developed by separate teams.</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Issues</a:t>
            </a:r>
          </a:p>
          <a:p>
            <a:pPr marL="628650" lvl="1" indent="-171450" defTabSz="180000">
              <a:spcAft>
                <a:spcPts val="300"/>
              </a:spcAft>
              <a:buFont typeface="Wingdings" panose="05000000000000000000" pitchFamily="2" charset="2"/>
              <a:buChar char="Ø"/>
              <a:tabLst>
                <a:tab pos="180000" algn="l"/>
              </a:tabLst>
            </a:pPr>
            <a:r>
              <a:rPr lang="en-US" sz="1200" dirty="0">
                <a:solidFill>
                  <a:schemeClr val="tx2"/>
                </a:solidFill>
              </a:rPr>
              <a:t>Version Mismatch between dev and production environments</a:t>
            </a:r>
          </a:p>
          <a:p>
            <a:pPr marL="628650" lvl="1" indent="-171450" defTabSz="180000">
              <a:spcAft>
                <a:spcPts val="300"/>
              </a:spcAft>
              <a:buFont typeface="Wingdings" panose="05000000000000000000" pitchFamily="2" charset="2"/>
              <a:buChar char="Ø"/>
              <a:tabLst>
                <a:tab pos="180000" algn="l"/>
              </a:tabLst>
            </a:pPr>
            <a:r>
              <a:rPr lang="en-US" sz="1200" dirty="0">
                <a:solidFill>
                  <a:schemeClr val="tx2"/>
                </a:solidFill>
              </a:rPr>
              <a:t>Conflicting dependencies</a:t>
            </a:r>
          </a:p>
          <a:p>
            <a:pPr marL="628650" lvl="1" indent="-171450" defTabSz="180000">
              <a:spcAft>
                <a:spcPts val="300"/>
              </a:spcAft>
              <a:buFont typeface="Wingdings" panose="05000000000000000000" pitchFamily="2" charset="2"/>
              <a:buChar char="Ø"/>
              <a:tabLst>
                <a:tab pos="180000" algn="l"/>
              </a:tabLst>
            </a:pPr>
            <a:r>
              <a:rPr lang="en-US" sz="1200" dirty="0">
                <a:solidFill>
                  <a:schemeClr val="tx2"/>
                </a:solidFill>
              </a:rPr>
              <a:t>Production should follow the same environment as dev</a:t>
            </a:r>
          </a:p>
          <a:p>
            <a:pPr marL="628650" lvl="1" indent="-171450" defTabSz="180000">
              <a:spcAft>
                <a:spcPts val="300"/>
              </a:spcAft>
              <a:buFont typeface="Wingdings" panose="05000000000000000000" pitchFamily="2" charset="2"/>
              <a:buChar char="Ø"/>
              <a:tabLst>
                <a:tab pos="180000" algn="l"/>
              </a:tabLst>
            </a:pPr>
            <a:r>
              <a:rPr lang="en-US" sz="1200" dirty="0">
                <a:solidFill>
                  <a:schemeClr val="tx2"/>
                </a:solidFill>
              </a:rPr>
              <a:t>Single tech stack is not suited to solve all diverse computational problem (ex. Machine learning)</a:t>
            </a:r>
          </a:p>
          <a:p>
            <a:pPr defTabSz="180000">
              <a:spcAft>
                <a:spcPts val="300"/>
              </a:spcAft>
              <a:tabLst>
                <a:tab pos="180000" algn="l"/>
              </a:tabLst>
            </a:pPr>
            <a:endParaRPr lang="en-US" sz="1200" dirty="0">
              <a:solidFill>
                <a:schemeClr val="tx2"/>
              </a:solidFill>
            </a:endParaRPr>
          </a:p>
          <a:p>
            <a:pPr defTabSz="180000">
              <a:spcAft>
                <a:spcPts val="300"/>
              </a:spcAft>
              <a:tabLst>
                <a:tab pos="180000" algn="l"/>
              </a:tabLst>
            </a:pPr>
            <a:endParaRPr lang="en-US" sz="1200" dirty="0">
              <a:solidFill>
                <a:schemeClr val="tx2"/>
              </a:solidFill>
            </a:endParaRPr>
          </a:p>
        </p:txBody>
      </p:sp>
      <p:pic>
        <p:nvPicPr>
          <p:cNvPr id="7" name="Picture 6" descr="A cartoon of a person in a room with computers&#10;&#10;AI-generated content may be incorrect.">
            <a:extLst>
              <a:ext uri="{FF2B5EF4-FFF2-40B4-BE49-F238E27FC236}">
                <a16:creationId xmlns:a16="http://schemas.microsoft.com/office/drawing/2014/main" id="{F6EBC109-0130-BC16-B629-E436B5F26F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800" y="1115939"/>
            <a:ext cx="2911622" cy="2911622"/>
          </a:xfrm>
          <a:prstGeom prst="rect">
            <a:avLst/>
          </a:prstGeom>
        </p:spPr>
      </p:pic>
    </p:spTree>
    <p:extLst>
      <p:ext uri="{BB962C8B-B14F-4D97-AF65-F5344CB8AC3E}">
        <p14:creationId xmlns:p14="http://schemas.microsoft.com/office/powerpoint/2010/main" val="3825454224"/>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7B034-B4CA-F76B-C290-24E418185069}"/>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D472D1A-C4A6-53AC-0C02-DD81B24E17C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63213CD6-D2CD-AA5F-1FB1-8AA4C282319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E0199741-76DA-0F0C-578D-3762CB74C342}"/>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Containers</a:t>
            </a:r>
          </a:p>
        </p:txBody>
      </p:sp>
      <p:sp>
        <p:nvSpPr>
          <p:cNvPr id="3" name="Text Placeholder 3">
            <a:extLst>
              <a:ext uri="{FF2B5EF4-FFF2-40B4-BE49-F238E27FC236}">
                <a16:creationId xmlns:a16="http://schemas.microsoft.com/office/drawing/2014/main" id="{0E5DF78A-20DC-479A-35ED-9063736C2D5C}"/>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A110BCC1-323A-623C-19FF-C0075F280665}"/>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EF012B4C-B287-69EB-D24C-F5BA953A0C2F}"/>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Introduction</a:t>
            </a:r>
          </a:p>
        </p:txBody>
      </p:sp>
      <p:pic>
        <p:nvPicPr>
          <p:cNvPr id="2" name="Picture Placeholder 6" descr="Aerial shot of a cargo ship in the sea">
            <a:extLst>
              <a:ext uri="{FF2B5EF4-FFF2-40B4-BE49-F238E27FC236}">
                <a16:creationId xmlns:a16="http://schemas.microsoft.com/office/drawing/2014/main" id="{3069E172-CB67-8B91-E053-3BF5EA8E83AD}"/>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4114800" y="0"/>
            <a:ext cx="5029200" cy="5143500"/>
          </a:xfrm>
          <a:prstGeom prst="rect">
            <a:avLst/>
          </a:prstGeom>
        </p:spPr>
      </p:pic>
      <p:sp>
        <p:nvSpPr>
          <p:cNvPr id="9" name="Text Placeholder 2">
            <a:extLst>
              <a:ext uri="{FF2B5EF4-FFF2-40B4-BE49-F238E27FC236}">
                <a16:creationId xmlns:a16="http://schemas.microsoft.com/office/drawing/2014/main" id="{FD61D487-1FBF-8494-48E0-38D6BB0F29D7}"/>
              </a:ext>
            </a:extLst>
          </p:cNvPr>
          <p:cNvSpPr txBox="1">
            <a:spLocks/>
          </p:cNvSpPr>
          <p:nvPr/>
        </p:nvSpPr>
        <p:spPr>
          <a:xfrm>
            <a:off x="373150" y="918927"/>
            <a:ext cx="3506260" cy="3632913"/>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300"/>
              </a:spcAft>
              <a:buFont typeface="Wingdings" panose="05000000000000000000" pitchFamily="2" charset="2"/>
              <a:buChar char="Ø"/>
            </a:pPr>
            <a:r>
              <a:rPr lang="en-US" sz="1200" dirty="0">
                <a:solidFill>
                  <a:schemeClr val="tx2"/>
                </a:solidFill>
              </a:rPr>
              <a:t>A container is a lightweight, portable, and isolated binary image that packages an application and all its dependencies (libraries, binaries, and configuration files) so that it runs consistently across different computing environments.</a:t>
            </a:r>
          </a:p>
          <a:p>
            <a:pPr>
              <a:spcAft>
                <a:spcPts val="300"/>
              </a:spcAft>
              <a:buFont typeface="Wingdings" panose="05000000000000000000" pitchFamily="2" charset="2"/>
              <a:buChar char="Ø"/>
            </a:pPr>
            <a:r>
              <a:rPr lang="en-US" sz="1200" dirty="0">
                <a:solidFill>
                  <a:schemeClr val="tx2"/>
                </a:solidFill>
              </a:rPr>
              <a:t>Containers can run on any operating system, including Linux, Windows, and Mac, and in any environment, including virtual machines, bare metal, and the public cloud</a:t>
            </a:r>
          </a:p>
          <a:p>
            <a:pPr>
              <a:spcAft>
                <a:spcPts val="300"/>
              </a:spcAft>
              <a:buFont typeface="Wingdings" panose="05000000000000000000" pitchFamily="2" charset="2"/>
              <a:buChar char="Ø"/>
            </a:pPr>
            <a:r>
              <a:rPr lang="en-US" sz="1200" dirty="0">
                <a:solidFill>
                  <a:schemeClr val="tx2"/>
                </a:solidFill>
              </a:rPr>
              <a:t>Containers share the OS kernel, making them more lightweight than virtual machines (VMs)</a:t>
            </a:r>
          </a:p>
          <a:p>
            <a:pPr>
              <a:spcAft>
                <a:spcPts val="300"/>
              </a:spcAft>
              <a:buFont typeface="Wingdings" panose="05000000000000000000" pitchFamily="2" charset="2"/>
              <a:buChar char="Ø"/>
            </a:pPr>
            <a:r>
              <a:rPr lang="en-US" sz="1200" dirty="0">
                <a:solidFill>
                  <a:schemeClr val="tx2"/>
                </a:solidFill>
              </a:rPr>
              <a:t>Containers provides resource isolation. We could provide upper resource (cpu, memory) limit for specific containers, which gives us more control in scheduling</a:t>
            </a:r>
          </a:p>
          <a:p>
            <a:pPr marL="0" indent="0">
              <a:spcAft>
                <a:spcPts val="300"/>
              </a:spcAft>
              <a:buFont typeface="Arial" panose="020B0604020202020204" pitchFamily="34" charset="0"/>
              <a:buNone/>
            </a:pPr>
            <a:endParaRPr lang="en-US" sz="1200" dirty="0">
              <a:solidFill>
                <a:schemeClr val="tx2"/>
              </a:solidFill>
            </a:endParaRPr>
          </a:p>
          <a:p>
            <a:pPr marL="0" indent="0">
              <a:spcAft>
                <a:spcPts val="300"/>
              </a:spcAft>
              <a:buFont typeface="Arial" panose="020B0604020202020204" pitchFamily="34" charset="0"/>
              <a:buNone/>
            </a:pPr>
            <a:br>
              <a:rPr lang="en-US" dirty="0"/>
            </a:br>
            <a:endParaRPr lang="en-IN" dirty="0"/>
          </a:p>
        </p:txBody>
      </p:sp>
    </p:spTree>
    <p:extLst>
      <p:ext uri="{BB962C8B-B14F-4D97-AF65-F5344CB8AC3E}">
        <p14:creationId xmlns:p14="http://schemas.microsoft.com/office/powerpoint/2010/main" val="1965616148"/>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35F01-DCBD-753C-F179-C553ECFFA58F}"/>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949F6E4-5632-9FA3-4647-6624E6EAABC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5D472D1A-C4A6-53AC-0C02-DD81B24E17C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57FBB0C6-740B-BA3C-3C8D-8A95AB1701D1}"/>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Containers</a:t>
            </a:r>
          </a:p>
        </p:txBody>
      </p:sp>
      <p:sp>
        <p:nvSpPr>
          <p:cNvPr id="3" name="Text Placeholder 3">
            <a:extLst>
              <a:ext uri="{FF2B5EF4-FFF2-40B4-BE49-F238E27FC236}">
                <a16:creationId xmlns:a16="http://schemas.microsoft.com/office/drawing/2014/main" id="{7B12BB1A-D1B6-5266-EACB-D69814F5CBC2}"/>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68531519-2216-C112-3009-5370685B1ACE}"/>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D472EE38-56D9-E280-6874-B4EA27AE7516}"/>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Technical Concepts</a:t>
            </a:r>
          </a:p>
        </p:txBody>
      </p:sp>
      <p:graphicFrame>
        <p:nvGraphicFramePr>
          <p:cNvPr id="7" name="Diagram 6">
            <a:extLst>
              <a:ext uri="{FF2B5EF4-FFF2-40B4-BE49-F238E27FC236}">
                <a16:creationId xmlns:a16="http://schemas.microsoft.com/office/drawing/2014/main" id="{5E24C008-6ECC-300E-7692-70378682DC3F}"/>
              </a:ext>
            </a:extLst>
          </p:cNvPr>
          <p:cNvGraphicFramePr/>
          <p:nvPr>
            <p:extLst>
              <p:ext uri="{D42A27DB-BD31-4B8C-83A1-F6EECF244321}">
                <p14:modId xmlns:p14="http://schemas.microsoft.com/office/powerpoint/2010/main" val="1107749548"/>
              </p:ext>
            </p:extLst>
          </p:nvPr>
        </p:nvGraphicFramePr>
        <p:xfrm>
          <a:off x="417599" y="882457"/>
          <a:ext cx="8160559" cy="38796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16835065"/>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8A73F3-6386-2697-CBFB-B4345DE45463}"/>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B15557-F9C6-3C42-AA80-1539624BBD1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6949F6E4-5632-9FA3-4647-6624E6EAABC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724A521-64BC-2CCB-5676-41B0AC8B42B3}"/>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Containers</a:t>
            </a:r>
          </a:p>
        </p:txBody>
      </p:sp>
      <p:sp>
        <p:nvSpPr>
          <p:cNvPr id="3" name="Text Placeholder 3">
            <a:extLst>
              <a:ext uri="{FF2B5EF4-FFF2-40B4-BE49-F238E27FC236}">
                <a16:creationId xmlns:a16="http://schemas.microsoft.com/office/drawing/2014/main" id="{E8EE6E93-D38E-2D2D-7D59-70A105AC1E66}"/>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744FAEC1-B802-0267-AF42-8367C3919ED9}"/>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F86DA554-0EBF-920A-424D-D5D4ACEF4C52}"/>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Docker</a:t>
            </a:r>
          </a:p>
        </p:txBody>
      </p:sp>
      <p:sp>
        <p:nvSpPr>
          <p:cNvPr id="2" name="TextBox 1">
            <a:extLst>
              <a:ext uri="{FF2B5EF4-FFF2-40B4-BE49-F238E27FC236}">
                <a16:creationId xmlns:a16="http://schemas.microsoft.com/office/drawing/2014/main" id="{AE6BC955-3401-2E6D-5005-BF508BF5F4D1}"/>
              </a:ext>
            </a:extLst>
          </p:cNvPr>
          <p:cNvSpPr txBox="1"/>
          <p:nvPr/>
        </p:nvSpPr>
        <p:spPr>
          <a:xfrm>
            <a:off x="520574" y="736600"/>
            <a:ext cx="914400" cy="914400"/>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kumimoji="0" lang="en-IN" sz="1200" b="0"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4886049A-24A9-4D89-609E-867952C84AD1}"/>
              </a:ext>
            </a:extLst>
          </p:cNvPr>
          <p:cNvSpPr txBox="1"/>
          <p:nvPr/>
        </p:nvSpPr>
        <p:spPr>
          <a:xfrm>
            <a:off x="373150" y="932507"/>
            <a:ext cx="8444925" cy="3638933"/>
          </a:xfrm>
          <a:prstGeom prst="rect">
            <a:avLst/>
          </a:prstGeom>
          <a:noFill/>
          <a:ln>
            <a:noFill/>
          </a:ln>
        </p:spPr>
        <p:txBody>
          <a:bodyPr wrap="squar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en-US" sz="1200" b="0" i="0" u="none" strike="noStrike" kern="1200" cap="none" spc="0" normalizeH="0" baseline="0" noProof="0" dirty="0">
                <a:ln>
                  <a:noFill/>
                </a:ln>
                <a:solidFill>
                  <a:schemeClr val="tx2"/>
                </a:solidFill>
                <a:effectLst/>
                <a:uLnTx/>
                <a:uFillTx/>
                <a:latin typeface="Nokia Pure Text Light"/>
                <a:ea typeface="+mn-ea"/>
                <a:cs typeface="+mn-cs"/>
              </a:rPr>
              <a:t>Docker is an open-source platform that allows developers to build, package, and run applications in containers. </a:t>
            </a: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kumimoji="0" lang="en-US" sz="1200" b="0" i="0" u="none" strike="noStrike" kern="1200" cap="none" spc="0" normalizeH="0" baseline="0" noProof="0" dirty="0">
              <a:ln>
                <a:noFill/>
              </a:ln>
              <a:solidFill>
                <a:schemeClr val="tx2"/>
              </a:solidFill>
              <a:effectLst/>
              <a:uLnTx/>
              <a:uFillTx/>
              <a:latin typeface="Nokia Pure Text Light"/>
              <a:ea typeface="+mn-ea"/>
              <a:cs typeface="+mn-cs"/>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en-US" sz="1200" b="0" i="0" u="none" strike="noStrike" kern="1200" cap="none" spc="0" normalizeH="0" baseline="0" noProof="0" dirty="0">
                <a:ln>
                  <a:noFill/>
                </a:ln>
                <a:solidFill>
                  <a:schemeClr val="tx2"/>
                </a:solidFill>
                <a:effectLst/>
                <a:uLnTx/>
                <a:uFillTx/>
                <a:latin typeface="Nokia Pure Text Light"/>
                <a:ea typeface="+mn-ea"/>
                <a:cs typeface="+mn-cs"/>
              </a:rPr>
              <a:t>Before Docker, containers were complex and mainly used by system administrators. Docker simplified containerization and made it mainstream by providing a developer-friendly, portable, and standardized solution.</a:t>
            </a:r>
            <a:endParaRPr lang="en-US" sz="1200"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kumimoji="0" lang="en-US" sz="1200" b="0" i="0" u="none" strike="noStrike" kern="1200" cap="none" spc="0" normalizeH="0" baseline="0" noProof="0" dirty="0">
              <a:ln>
                <a:noFill/>
              </a:ln>
              <a:solidFill>
                <a:schemeClr val="tx2"/>
              </a:solidFill>
              <a:effectLst/>
              <a:uLnTx/>
              <a:uFillTx/>
              <a:latin typeface="Nokia Pure Text Light"/>
              <a:ea typeface="+mn-ea"/>
              <a:cs typeface="+mn-cs"/>
            </a:endParaRP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kumimoji="0" lang="en-US" sz="1200" b="0" i="0" u="none" strike="noStrike" kern="1200" cap="none" spc="0" normalizeH="0" baseline="0" noProof="0" dirty="0">
                <a:ln>
                  <a:noFill/>
                </a:ln>
                <a:solidFill>
                  <a:schemeClr val="tx2"/>
                </a:solidFill>
                <a:effectLst/>
                <a:uLnTx/>
                <a:uFillTx/>
                <a:latin typeface="Nokia Pure Text Light"/>
                <a:ea typeface="+mn-ea"/>
                <a:cs typeface="+mn-cs"/>
              </a:rPr>
              <a:t>Docker Engine – </a:t>
            </a:r>
            <a:r>
              <a:rPr lang="en-US" sz="1200" dirty="0">
                <a:solidFill>
                  <a:schemeClr val="tx2"/>
                </a:solidFill>
                <a:latin typeface="Nokia Pure Text Light"/>
              </a:rPr>
              <a:t>The </a:t>
            </a:r>
            <a:r>
              <a:rPr kumimoji="0" lang="en-US" sz="1200" b="0" i="0" u="none" strike="noStrike" kern="1200" cap="none" spc="0" normalizeH="0" baseline="0" noProof="0" dirty="0">
                <a:ln>
                  <a:noFill/>
                </a:ln>
                <a:solidFill>
                  <a:schemeClr val="tx2"/>
                </a:solidFill>
                <a:effectLst/>
                <a:uLnTx/>
                <a:uFillTx/>
                <a:latin typeface="Nokia Pure Text Light"/>
                <a:ea typeface="+mn-ea"/>
                <a:cs typeface="+mn-cs"/>
              </a:rPr>
              <a:t>core container runtime that runs and manages containers.</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kumimoji="0" lang="en-US" sz="1200" b="0" i="0" u="none" strike="noStrike" kern="1200" cap="none" spc="0" normalizeH="0" baseline="0" noProof="0" dirty="0">
                <a:ln>
                  <a:noFill/>
                </a:ln>
                <a:solidFill>
                  <a:schemeClr val="tx2"/>
                </a:solidFill>
                <a:effectLst/>
                <a:uLnTx/>
                <a:uFillTx/>
                <a:latin typeface="Nokia Pure Text Light"/>
                <a:ea typeface="+mn-ea"/>
                <a:cs typeface="+mn-cs"/>
              </a:rPr>
              <a:t>Docker Hub / Registry – A cloud-based service to store and share container images.</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Docker images – A container image as packaged by docker</a:t>
            </a:r>
          </a:p>
          <a:p>
            <a:pPr marL="171450" indent="-171450" defTabSz="180000">
              <a:spcAft>
                <a:spcPts val="300"/>
              </a:spcAft>
              <a:buFont typeface="Wingdings" panose="05000000000000000000" pitchFamily="2" charset="2"/>
              <a:buChar char="Ø"/>
              <a:tabLst>
                <a:tab pos="180000" algn="l"/>
              </a:tabLst>
            </a:pPr>
            <a:r>
              <a:rPr kumimoji="0" lang="en-US" sz="1200" b="0" i="0" u="none" strike="noStrike" kern="1200" cap="none" spc="0" normalizeH="0" baseline="0" noProof="0" dirty="0">
                <a:ln>
                  <a:noFill/>
                </a:ln>
                <a:solidFill>
                  <a:schemeClr val="tx2"/>
                </a:solidFill>
                <a:effectLst/>
                <a:uLnTx/>
                <a:uFillTx/>
                <a:latin typeface="Nokia Pure Text Light"/>
                <a:ea typeface="+mn-ea"/>
                <a:cs typeface="+mn-cs"/>
              </a:rPr>
              <a:t>Docker Compose – A tool for defining and running multi-container applications (docker-</a:t>
            </a:r>
            <a:r>
              <a:rPr kumimoji="0" lang="en-US" sz="1200" b="0" i="0" u="none" strike="noStrike" kern="1200" cap="none" spc="0" normalizeH="0" baseline="0" noProof="0" dirty="0" err="1">
                <a:ln>
                  <a:noFill/>
                </a:ln>
                <a:solidFill>
                  <a:schemeClr val="tx2"/>
                </a:solidFill>
                <a:effectLst/>
                <a:uLnTx/>
                <a:uFillTx/>
                <a:latin typeface="Nokia Pure Text Light"/>
                <a:ea typeface="+mn-ea"/>
                <a:cs typeface="+mn-cs"/>
              </a:rPr>
              <a:t>compose.yml</a:t>
            </a:r>
            <a:r>
              <a:rPr kumimoji="0" lang="en-US" sz="1200" b="0" i="0" u="none" strike="noStrike" kern="1200" cap="none" spc="0" normalizeH="0" baseline="0" noProof="0" dirty="0">
                <a:ln>
                  <a:noFill/>
                </a:ln>
                <a:solidFill>
                  <a:schemeClr val="tx2"/>
                </a:solidFill>
                <a:effectLst/>
                <a:uLnTx/>
                <a:uFillTx/>
                <a:latin typeface="Nokia Pure Text Light"/>
                <a:ea typeface="+mn-ea"/>
                <a:cs typeface="+mn-cs"/>
              </a:rPr>
              <a:t>).</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Docker CLI – Command-line interface for managing containers (docker run, docker </a:t>
            </a:r>
            <a:r>
              <a:rPr lang="en-US" sz="1200" dirty="0" err="1">
                <a:solidFill>
                  <a:schemeClr val="tx2"/>
                </a:solidFill>
                <a:latin typeface="Nokia Pure Text Light"/>
              </a:rPr>
              <a:t>ps</a:t>
            </a:r>
            <a:r>
              <a:rPr lang="en-US" sz="1200" dirty="0">
                <a:solidFill>
                  <a:schemeClr val="tx2"/>
                </a:solidFill>
                <a:latin typeface="Nokia Pure Text Light"/>
              </a:rPr>
              <a:t>).</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Dockerfile – A file which has instructions on how to build docker image</a:t>
            </a:r>
          </a:p>
        </p:txBody>
      </p:sp>
    </p:spTree>
    <p:extLst>
      <p:ext uri="{BB962C8B-B14F-4D97-AF65-F5344CB8AC3E}">
        <p14:creationId xmlns:p14="http://schemas.microsoft.com/office/powerpoint/2010/main" val="3650063344"/>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62E81-4894-375B-C46D-8ED333EE85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EF947D-D7D7-D209-8B30-E9401D8A421E}"/>
              </a:ext>
            </a:extLst>
          </p:cNvPr>
          <p:cNvSpPr>
            <a:spLocks noGrp="1"/>
          </p:cNvSpPr>
          <p:nvPr>
            <p:ph type="title"/>
          </p:nvPr>
        </p:nvSpPr>
        <p:spPr>
          <a:xfrm>
            <a:off x="426324" y="1608296"/>
            <a:ext cx="3909884" cy="1244465"/>
          </a:xfrm>
        </p:spPr>
        <p:txBody>
          <a:bodyPr/>
          <a:lstStyle/>
          <a:p>
            <a:r>
              <a:rPr lang="en-US" sz="4800" dirty="0"/>
              <a:t>Containers Demo</a:t>
            </a:r>
            <a:endParaRPr lang="en-HU" sz="4800" dirty="0"/>
          </a:p>
        </p:txBody>
      </p:sp>
    </p:spTree>
    <p:extLst>
      <p:ext uri="{BB962C8B-B14F-4D97-AF65-F5344CB8AC3E}">
        <p14:creationId xmlns:p14="http://schemas.microsoft.com/office/powerpoint/2010/main" val="1244367810"/>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A0CAA-DF03-EE7A-F1FF-9A098EE12AB8}"/>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5E654AB-F667-2EFA-C7E6-0EFC18265B0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49B15557-F9C6-3C42-AA80-1539624BBD1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619A9C58-2FF9-2495-E074-8513CAA23F80}"/>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ubernetes</a:t>
            </a:r>
          </a:p>
        </p:txBody>
      </p:sp>
      <p:sp>
        <p:nvSpPr>
          <p:cNvPr id="3" name="Text Placeholder 3">
            <a:extLst>
              <a:ext uri="{FF2B5EF4-FFF2-40B4-BE49-F238E27FC236}">
                <a16:creationId xmlns:a16="http://schemas.microsoft.com/office/drawing/2014/main" id="{92C8EA3B-5B05-2624-3678-79CE48258632}"/>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50B75FF1-0E51-91ED-5363-756626CE958E}"/>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5CFDB7FF-0E60-2A2C-B30D-805CBCB8D742}"/>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Need for Container Orchestration platform</a:t>
            </a:r>
          </a:p>
        </p:txBody>
      </p:sp>
      <p:sp>
        <p:nvSpPr>
          <p:cNvPr id="2" name="TextBox 1">
            <a:extLst>
              <a:ext uri="{FF2B5EF4-FFF2-40B4-BE49-F238E27FC236}">
                <a16:creationId xmlns:a16="http://schemas.microsoft.com/office/drawing/2014/main" id="{F37C9919-85FE-3BDC-AAA4-9C9724B9DC44}"/>
              </a:ext>
            </a:extLst>
          </p:cNvPr>
          <p:cNvSpPr txBox="1"/>
          <p:nvPr/>
        </p:nvSpPr>
        <p:spPr>
          <a:xfrm>
            <a:off x="520574" y="736600"/>
            <a:ext cx="914400" cy="914400"/>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kumimoji="0" lang="en-IN" sz="1200" b="0"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625A8719-C23A-F026-4763-46B602E13AEC}"/>
              </a:ext>
            </a:extLst>
          </p:cNvPr>
          <p:cNvSpPr txBox="1"/>
          <p:nvPr/>
        </p:nvSpPr>
        <p:spPr>
          <a:xfrm>
            <a:off x="373150" y="932507"/>
            <a:ext cx="8250276" cy="3638933"/>
          </a:xfrm>
          <a:prstGeom prst="rect">
            <a:avLst/>
          </a:prstGeom>
          <a:noFill/>
          <a:ln>
            <a:noFill/>
          </a:ln>
        </p:spPr>
        <p:txBody>
          <a:bodyPr wrap="squar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b="1"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lang="en-US" sz="1200" b="1" dirty="0">
                <a:solidFill>
                  <a:schemeClr val="tx2"/>
                </a:solidFill>
                <a:latin typeface="Nokia Pure Text Light"/>
              </a:rPr>
              <a:t>Increased Complexity in Orchestration</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latin typeface="Nokia Pure Text Light"/>
              </a:rPr>
              <a:t>Running multiple containers required manual deployment, scaling, and monitoring. Scaling containers up/down manually was slow and inefficient. If a container crashed, manual intervention was needed to restart it.</a:t>
            </a: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lang="en-US" sz="1200" b="1" dirty="0">
                <a:solidFill>
                  <a:schemeClr val="tx2"/>
                </a:solidFill>
                <a:latin typeface="Nokia Pure Text Light"/>
              </a:rPr>
              <a:t>Monitoring and Observability Overload</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Tracking performance and health of numerous containers becomes overwhelming.</a:t>
            </a: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lang="en-US" sz="1200" b="1" dirty="0">
                <a:solidFill>
                  <a:schemeClr val="tx2"/>
                </a:solidFill>
                <a:latin typeface="Nokia Pure Text Light"/>
              </a:rPr>
              <a:t>Networking Complexity</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Managing internal/external traffic across multiple containers.</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Difficulties in inter-container communication and service discovery.</a:t>
            </a: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lang="en-US" sz="1200" b="1" dirty="0">
                <a:solidFill>
                  <a:schemeClr val="tx2"/>
                </a:solidFill>
                <a:latin typeface="Nokia Pure Text Light"/>
              </a:rPr>
              <a:t>Resource Allocation and Optimization</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Efficiently managing CPU, memory, and other resources across containers.</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Risk of resource contention, underutilization, or overprovisioning</a:t>
            </a:r>
          </a:p>
        </p:txBody>
      </p:sp>
    </p:spTree>
    <p:extLst>
      <p:ext uri="{BB962C8B-B14F-4D97-AF65-F5344CB8AC3E}">
        <p14:creationId xmlns:p14="http://schemas.microsoft.com/office/powerpoint/2010/main" val="2223905702"/>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19C95-F067-0762-9B34-B2DF379FCE64}"/>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FB327D1-E54B-FE8F-AF74-73EB00FE25F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B5E654AB-F667-2EFA-C7E6-0EFC18265B0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3A1E36E-BC82-C21E-D415-F399411EC8FA}"/>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ubernetes</a:t>
            </a:r>
          </a:p>
        </p:txBody>
      </p:sp>
      <p:sp>
        <p:nvSpPr>
          <p:cNvPr id="3" name="Text Placeholder 3">
            <a:extLst>
              <a:ext uri="{FF2B5EF4-FFF2-40B4-BE49-F238E27FC236}">
                <a16:creationId xmlns:a16="http://schemas.microsoft.com/office/drawing/2014/main" id="{D58F272C-D2A6-0197-326A-531634E091F9}"/>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24026296-E54D-7ECB-0C09-3EF193FF2E6F}"/>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6D68B05C-196B-6763-52DA-76745F799CC3}"/>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Overview</a:t>
            </a:r>
          </a:p>
        </p:txBody>
      </p:sp>
      <p:sp>
        <p:nvSpPr>
          <p:cNvPr id="2" name="TextBox 1">
            <a:extLst>
              <a:ext uri="{FF2B5EF4-FFF2-40B4-BE49-F238E27FC236}">
                <a16:creationId xmlns:a16="http://schemas.microsoft.com/office/drawing/2014/main" id="{73398346-F0F9-8B44-34A1-38BD742F7545}"/>
              </a:ext>
            </a:extLst>
          </p:cNvPr>
          <p:cNvSpPr txBox="1"/>
          <p:nvPr/>
        </p:nvSpPr>
        <p:spPr>
          <a:xfrm>
            <a:off x="520574" y="736600"/>
            <a:ext cx="914400" cy="914400"/>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kumimoji="0" lang="en-IN" sz="1200" b="0"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1EFC9A51-9384-3B87-D3F3-E3B6F58C6A78}"/>
              </a:ext>
            </a:extLst>
          </p:cNvPr>
          <p:cNvSpPr txBox="1"/>
          <p:nvPr/>
        </p:nvSpPr>
        <p:spPr>
          <a:xfrm>
            <a:off x="373150" y="964672"/>
            <a:ext cx="4828362" cy="3638933"/>
          </a:xfrm>
          <a:prstGeom prst="rect">
            <a:avLst/>
          </a:prstGeom>
          <a:noFill/>
          <a:ln>
            <a:noFill/>
          </a:ln>
        </p:spPr>
        <p:txBody>
          <a:bodyPr wrap="squar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lang="en-US" sz="1200" dirty="0">
                <a:solidFill>
                  <a:schemeClr val="tx2"/>
                </a:solidFill>
                <a:latin typeface="Nokia Pure Text Light"/>
              </a:rPr>
              <a:t>Kubernetes (K8s) is an </a:t>
            </a:r>
            <a:r>
              <a:rPr lang="en-US" sz="1200" b="1" dirty="0">
                <a:solidFill>
                  <a:schemeClr val="tx2"/>
                </a:solidFill>
                <a:latin typeface="Nokia Pure Text Light"/>
              </a:rPr>
              <a:t>open-source container orchestration platform</a:t>
            </a:r>
            <a:r>
              <a:rPr lang="en-US" sz="1200" dirty="0">
                <a:solidFill>
                  <a:schemeClr val="tx2"/>
                </a:solidFill>
                <a:latin typeface="Nokia Pure Text Light"/>
              </a:rPr>
              <a:t> that automates the </a:t>
            </a:r>
            <a:r>
              <a:rPr lang="en-US" sz="1200" b="1" dirty="0">
                <a:solidFill>
                  <a:schemeClr val="tx2"/>
                </a:solidFill>
                <a:latin typeface="Nokia Pure Text Light"/>
              </a:rPr>
              <a:t>deployment, scaling, and management </a:t>
            </a:r>
            <a:r>
              <a:rPr lang="en-US" sz="1200" dirty="0">
                <a:solidFill>
                  <a:schemeClr val="tx2"/>
                </a:solidFill>
                <a:latin typeface="Nokia Pure Text Light"/>
              </a:rPr>
              <a:t>of containerized applications. It is originally developed by Google, now maintained by the Cloud Native Computing Foundation (CNCF).</a:t>
            </a: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Automated Deployment &amp; Scaling – Manages containerized apps without manual intervention.</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Self-Healing – Restarts failed containers and replaces unhealthy ones.</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Load Balancing &amp; Service Discovery – Distributes traffic and ensures stable networking.</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Multi-Cloud &amp; Hybrid Support – Works on on-prem, AWS, GCP, Azure, and more.</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Rolling Updates &amp; Rollbacks – Deploy updates without downtime.</a:t>
            </a: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p:txBody>
      </p:sp>
      <p:graphicFrame>
        <p:nvGraphicFramePr>
          <p:cNvPr id="18" name="Diagram 17">
            <a:extLst>
              <a:ext uri="{FF2B5EF4-FFF2-40B4-BE49-F238E27FC236}">
                <a16:creationId xmlns:a16="http://schemas.microsoft.com/office/drawing/2014/main" id="{80C837AD-C4A3-8454-1A94-1D0C3698522D}"/>
              </a:ext>
            </a:extLst>
          </p:cNvPr>
          <p:cNvGraphicFramePr/>
          <p:nvPr>
            <p:extLst>
              <p:ext uri="{D42A27DB-BD31-4B8C-83A1-F6EECF244321}">
                <p14:modId xmlns:p14="http://schemas.microsoft.com/office/powerpoint/2010/main" val="2997907992"/>
              </p:ext>
            </p:extLst>
          </p:nvPr>
        </p:nvGraphicFramePr>
        <p:xfrm>
          <a:off x="4709182" y="906927"/>
          <a:ext cx="4999022" cy="31778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939299737"/>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F465D-0E37-DA7B-12AA-1A38AF25B8C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FB34576-AF6B-ADC0-0836-D2CB69E72331}"/>
              </a:ext>
            </a:extLst>
          </p:cNvPr>
          <p:cNvSpPr>
            <a:spLocks noGrp="1"/>
          </p:cNvSpPr>
          <p:nvPr>
            <p:ph type="body" sz="quarter" idx="12"/>
          </p:nvPr>
        </p:nvSpPr>
        <p:spPr/>
        <p:txBody>
          <a:bodyPr/>
          <a:lstStyle/>
          <a:p>
            <a:r>
              <a:rPr lang="en-US" dirty="0"/>
              <a:t>Agenda</a:t>
            </a:r>
          </a:p>
        </p:txBody>
      </p:sp>
      <p:sp>
        <p:nvSpPr>
          <p:cNvPr id="3" name="Text Placeholder 2">
            <a:extLst>
              <a:ext uri="{FF2B5EF4-FFF2-40B4-BE49-F238E27FC236}">
                <a16:creationId xmlns:a16="http://schemas.microsoft.com/office/drawing/2014/main" id="{7CB94020-8ECF-9BF6-EA67-EF769BAB84E3}"/>
              </a:ext>
            </a:extLst>
          </p:cNvPr>
          <p:cNvSpPr>
            <a:spLocks noGrp="1"/>
          </p:cNvSpPr>
          <p:nvPr>
            <p:ph type="body" sz="quarter" idx="13"/>
          </p:nvPr>
        </p:nvSpPr>
        <p:spPr/>
        <p:txBody>
          <a:bodyPr/>
          <a:lstStyle/>
          <a:p>
            <a:r>
              <a:rPr lang="en-US"/>
              <a:t> </a:t>
            </a:r>
          </a:p>
        </p:txBody>
      </p:sp>
      <p:sp>
        <p:nvSpPr>
          <p:cNvPr id="4" name="Text Placeholder 3">
            <a:extLst>
              <a:ext uri="{FF2B5EF4-FFF2-40B4-BE49-F238E27FC236}">
                <a16:creationId xmlns:a16="http://schemas.microsoft.com/office/drawing/2014/main" id="{16A96DBA-DC2E-B71D-B715-7431F9A2279D}"/>
              </a:ext>
            </a:extLst>
          </p:cNvPr>
          <p:cNvSpPr>
            <a:spLocks noGrp="1"/>
          </p:cNvSpPr>
          <p:nvPr>
            <p:ph type="body" sz="quarter" idx="14"/>
          </p:nvPr>
        </p:nvSpPr>
        <p:spPr/>
        <p:txBody>
          <a:bodyPr/>
          <a:lstStyle/>
          <a:p>
            <a:pPr marL="228600" marR="0" lvl="0" indent="-228600" algn="l" defTabSz="685800" rtl="0" eaLnBrk="1" fontAlgn="auto" latinLnBrk="0" hangingPunct="1">
              <a:lnSpc>
                <a:spcPct val="100000"/>
              </a:lnSpc>
              <a:spcBef>
                <a:spcPts val="0"/>
              </a:spcBef>
              <a:spcAft>
                <a:spcPts val="300"/>
              </a:spcAft>
              <a:buClrTx/>
              <a:buSzTx/>
              <a:buFont typeface="+mj-lt"/>
              <a:buAutoNum type="arabicPeriod"/>
              <a:tabLst/>
              <a:defRPr/>
            </a:pPr>
            <a:r>
              <a:rPr lang="en-IN" dirty="0">
                <a:solidFill>
                  <a:srgbClr val="FFFFFF"/>
                </a:solidFill>
                <a:latin typeface="Nokia Pure Text Light"/>
              </a:rPr>
              <a:t>Evolution of Digital Era</a:t>
            </a:r>
          </a:p>
          <a:p>
            <a:pPr marL="228600" marR="0" lvl="0" indent="-228600" algn="l" defTabSz="685800" rtl="0" eaLnBrk="1" fontAlgn="auto" latinLnBrk="0" hangingPunct="1">
              <a:lnSpc>
                <a:spcPct val="100000"/>
              </a:lnSpc>
              <a:spcBef>
                <a:spcPts val="0"/>
              </a:spcBef>
              <a:spcAft>
                <a:spcPts val="300"/>
              </a:spcAft>
              <a:buClrTx/>
              <a:buSzTx/>
              <a:buFont typeface="+mj-lt"/>
              <a:buAutoNum type="arabicPeriod"/>
              <a:tabLst/>
              <a:defRPr/>
            </a:pPr>
            <a:r>
              <a:rPr lang="en-IN" dirty="0">
                <a:solidFill>
                  <a:srgbClr val="FFFFFF"/>
                </a:solidFill>
                <a:latin typeface="Nokia Pure Text Light"/>
              </a:rPr>
              <a:t>Key Changes in Software Development Methodologies </a:t>
            </a:r>
          </a:p>
          <a:p>
            <a:pPr marL="228600" indent="-228600">
              <a:spcAft>
                <a:spcPts val="300"/>
              </a:spcAft>
              <a:buSzTx/>
              <a:buFont typeface="+mj-lt"/>
              <a:buAutoNum type="arabicPeriod"/>
              <a:defRPr/>
            </a:pPr>
            <a:r>
              <a:rPr lang="en-IN" dirty="0">
                <a:solidFill>
                  <a:srgbClr val="FFFFFF"/>
                </a:solidFill>
                <a:latin typeface="Nokia Pure Text Light"/>
              </a:rPr>
              <a:t>Key Changes in Software Delivery and Deployment</a:t>
            </a:r>
          </a:p>
          <a:p>
            <a:pPr marL="228600" marR="0" lvl="0" indent="-228600" algn="l" defTabSz="685800" rtl="0" eaLnBrk="1" fontAlgn="auto" latinLnBrk="0" hangingPunct="1">
              <a:lnSpc>
                <a:spcPct val="100000"/>
              </a:lnSpc>
              <a:spcBef>
                <a:spcPts val="0"/>
              </a:spcBef>
              <a:spcAft>
                <a:spcPts val="300"/>
              </a:spcAft>
              <a:buClrTx/>
              <a:buSzTx/>
              <a:buFont typeface="+mj-lt"/>
              <a:buAutoNum type="arabicPeriod"/>
              <a:tabLst/>
              <a:defRPr/>
            </a:pPr>
            <a:r>
              <a:rPr lang="en-IN" dirty="0">
                <a:solidFill>
                  <a:srgbClr val="FFFFFF"/>
                </a:solidFill>
                <a:latin typeface="Nokia Pure Text Light"/>
              </a:rPr>
              <a:t>Key Changes in Software Architecture</a:t>
            </a:r>
          </a:p>
          <a:p>
            <a:pPr marL="228600" marR="0" lvl="0" indent="-228600" algn="l" defTabSz="685800" rtl="0" eaLnBrk="1" fontAlgn="auto" latinLnBrk="0" hangingPunct="1">
              <a:lnSpc>
                <a:spcPct val="100000"/>
              </a:lnSpc>
              <a:spcBef>
                <a:spcPts val="0"/>
              </a:spcBef>
              <a:spcAft>
                <a:spcPts val="300"/>
              </a:spcAft>
              <a:buClrTx/>
              <a:buSzTx/>
              <a:buFont typeface="+mj-lt"/>
              <a:buAutoNum type="arabicPeriod"/>
              <a:tabLst/>
              <a:defRPr/>
            </a:pPr>
            <a:r>
              <a:rPr kumimoji="0" lang="en-IN" sz="1200" b="0" i="0" u="none" strike="noStrike" kern="1200" cap="none" spc="0" normalizeH="0" baseline="0" dirty="0">
                <a:ln>
                  <a:noFill/>
                </a:ln>
                <a:solidFill>
                  <a:srgbClr val="FFFFFF"/>
                </a:solidFill>
                <a:effectLst/>
                <a:uLnTx/>
                <a:uFillTx/>
                <a:latin typeface="Nokia Pure Text Light"/>
                <a:ea typeface="+mn-ea"/>
                <a:cs typeface="+mn-cs"/>
              </a:rPr>
              <a:t>Containers</a:t>
            </a:r>
          </a:p>
          <a:p>
            <a:pPr marL="408600" lvl="1" indent="-228600">
              <a:spcAft>
                <a:spcPts val="300"/>
              </a:spcAft>
              <a:buSzTx/>
              <a:buFont typeface="+mj-lt"/>
              <a:buAutoNum type="alphaLcPeriod"/>
              <a:defRPr/>
            </a:pPr>
            <a:r>
              <a:rPr kumimoji="0" lang="en-IN" b="0" i="0" u="none" strike="noStrike" kern="1200" cap="none" spc="0" normalizeH="0" baseline="0" dirty="0">
                <a:ln>
                  <a:noFill/>
                </a:ln>
                <a:solidFill>
                  <a:srgbClr val="FFFFFF"/>
                </a:solidFill>
                <a:effectLst/>
                <a:uLnTx/>
                <a:uFillTx/>
                <a:latin typeface="Nokia Pure Text Light"/>
                <a:ea typeface="+mn-ea"/>
                <a:cs typeface="+mn-cs"/>
              </a:rPr>
              <a:t>Demo</a:t>
            </a:r>
            <a:r>
              <a:rPr kumimoji="0" lang="en-IN" sz="1200" b="0" i="0" u="none" strike="noStrike" kern="1200" cap="none" spc="0" normalizeH="0" baseline="0" dirty="0">
                <a:ln>
                  <a:noFill/>
                </a:ln>
                <a:solidFill>
                  <a:srgbClr val="FFFFFF"/>
                </a:solidFill>
                <a:effectLst/>
                <a:uLnTx/>
                <a:uFillTx/>
                <a:latin typeface="Nokia Pure Text Light"/>
                <a:ea typeface="+mn-ea"/>
                <a:cs typeface="+mn-cs"/>
              </a:rPr>
              <a:t> </a:t>
            </a:r>
          </a:p>
          <a:p>
            <a:pPr marL="228600" marR="0" lvl="0" indent="-228600" algn="l" defTabSz="685800" rtl="0" eaLnBrk="1" fontAlgn="auto" latinLnBrk="0" hangingPunct="1">
              <a:lnSpc>
                <a:spcPct val="100000"/>
              </a:lnSpc>
              <a:spcBef>
                <a:spcPts val="0"/>
              </a:spcBef>
              <a:spcAft>
                <a:spcPts val="300"/>
              </a:spcAft>
              <a:buClrTx/>
              <a:buSzTx/>
              <a:buFont typeface="+mj-lt"/>
              <a:buAutoNum type="arabicPeriod"/>
              <a:tabLst/>
              <a:defRPr/>
            </a:pPr>
            <a:r>
              <a:rPr lang="en-IN" dirty="0">
                <a:solidFill>
                  <a:srgbClr val="FFFFFF"/>
                </a:solidFill>
                <a:latin typeface="Nokia Pure Text Light"/>
              </a:rPr>
              <a:t>Kubernetes</a:t>
            </a:r>
          </a:p>
          <a:p>
            <a:pPr marL="408600" lvl="1" indent="-228600">
              <a:spcAft>
                <a:spcPts val="300"/>
              </a:spcAft>
              <a:buSzTx/>
              <a:buFont typeface="+mj-lt"/>
              <a:buAutoNum type="alphaLcPeriod"/>
              <a:defRPr/>
            </a:pPr>
            <a:r>
              <a:rPr lang="en-IN" dirty="0">
                <a:solidFill>
                  <a:srgbClr val="FFFFFF"/>
                </a:solidFill>
                <a:latin typeface="Nokia Pure Text Light"/>
              </a:rPr>
              <a:t>Demo</a:t>
            </a:r>
          </a:p>
          <a:p>
            <a:pPr marL="228600" indent="-228600">
              <a:buAutoNum type="arabicPeriod" startAt="7"/>
            </a:pPr>
            <a:r>
              <a:rPr lang="en-IN" dirty="0"/>
              <a:t>Kubernetes and Containers in Cloud</a:t>
            </a:r>
          </a:p>
        </p:txBody>
      </p:sp>
      <p:pic>
        <p:nvPicPr>
          <p:cNvPr id="12" name="Picture Placeholder 11" descr="A person wearing a vr headset&#10;&#10;Description automatically generated with medium confidence">
            <a:extLst>
              <a:ext uri="{FF2B5EF4-FFF2-40B4-BE49-F238E27FC236}">
                <a16:creationId xmlns:a16="http://schemas.microsoft.com/office/drawing/2014/main" id="{FCCD04D6-C373-119C-04F6-318C26D75ED8}"/>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a:stretch>
            <a:fillRect/>
          </a:stretch>
        </p:blipFill>
        <p:spPr/>
      </p:pic>
      <p:pic>
        <p:nvPicPr>
          <p:cNvPr id="7" name="Graphic 6">
            <a:extLst>
              <a:ext uri="{FF2B5EF4-FFF2-40B4-BE49-F238E27FC236}">
                <a16:creationId xmlns:a16="http://schemas.microsoft.com/office/drawing/2014/main" id="{98433D76-26E1-D345-6347-3B2D03459EA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Tree>
    <p:extLst>
      <p:ext uri="{BB962C8B-B14F-4D97-AF65-F5344CB8AC3E}">
        <p14:creationId xmlns:p14="http://schemas.microsoft.com/office/powerpoint/2010/main" val="68230627"/>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598EE-4DFA-EC69-954D-307F95129BA7}"/>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D8D94BE-2DC0-FD14-D7C0-0B53C68E712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6949F6E4-5632-9FA3-4647-6624E6EAABC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337CC90-C362-88AB-0C94-926C34A16577}"/>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ubernetes</a:t>
            </a:r>
          </a:p>
        </p:txBody>
      </p:sp>
      <p:sp>
        <p:nvSpPr>
          <p:cNvPr id="3" name="Text Placeholder 3">
            <a:extLst>
              <a:ext uri="{FF2B5EF4-FFF2-40B4-BE49-F238E27FC236}">
                <a16:creationId xmlns:a16="http://schemas.microsoft.com/office/drawing/2014/main" id="{59CA1978-70FB-E3FB-C87D-9EF7223ECAC9}"/>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8F26BC84-308A-6BB1-AEDE-545078805D21}"/>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C1CA7883-F869-F11F-A75D-BC863186022A}"/>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Technical Concepts</a:t>
            </a:r>
          </a:p>
        </p:txBody>
      </p:sp>
      <p:graphicFrame>
        <p:nvGraphicFramePr>
          <p:cNvPr id="7" name="Diagram 6">
            <a:extLst>
              <a:ext uri="{FF2B5EF4-FFF2-40B4-BE49-F238E27FC236}">
                <a16:creationId xmlns:a16="http://schemas.microsoft.com/office/drawing/2014/main" id="{21478413-678F-70DF-42F9-A9AD562C8314}"/>
              </a:ext>
            </a:extLst>
          </p:cNvPr>
          <p:cNvGraphicFramePr/>
          <p:nvPr>
            <p:extLst>
              <p:ext uri="{D42A27DB-BD31-4B8C-83A1-F6EECF244321}">
                <p14:modId xmlns:p14="http://schemas.microsoft.com/office/powerpoint/2010/main" val="427681105"/>
              </p:ext>
            </p:extLst>
          </p:nvPr>
        </p:nvGraphicFramePr>
        <p:xfrm>
          <a:off x="417599" y="882457"/>
          <a:ext cx="8160559" cy="38796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938394376"/>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B7A4E-DF63-3620-28AE-826BC461D7E4}"/>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E25F79-C19A-E427-A11E-0849C2BF87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9D8D94BE-2DC0-FD14-D7C0-0B53C68E712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3107744-ED67-7F18-2C2A-E37203401C64}"/>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ubernetes</a:t>
            </a:r>
          </a:p>
        </p:txBody>
      </p:sp>
      <p:sp>
        <p:nvSpPr>
          <p:cNvPr id="3" name="Text Placeholder 3">
            <a:extLst>
              <a:ext uri="{FF2B5EF4-FFF2-40B4-BE49-F238E27FC236}">
                <a16:creationId xmlns:a16="http://schemas.microsoft.com/office/drawing/2014/main" id="{263F8131-3256-CE99-9C36-3F97505E3B03}"/>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7BC5B901-6366-7EFD-46E3-E94F65141B11}"/>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95E25807-7FAE-9FB1-148C-FC1FEB4F2D8B}"/>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Technical Concepts</a:t>
            </a:r>
          </a:p>
        </p:txBody>
      </p:sp>
      <p:graphicFrame>
        <p:nvGraphicFramePr>
          <p:cNvPr id="7" name="Diagram 6">
            <a:extLst>
              <a:ext uri="{FF2B5EF4-FFF2-40B4-BE49-F238E27FC236}">
                <a16:creationId xmlns:a16="http://schemas.microsoft.com/office/drawing/2014/main" id="{DAB4BECD-D223-24C6-5DE4-8A506526CCD5}"/>
              </a:ext>
            </a:extLst>
          </p:cNvPr>
          <p:cNvGraphicFramePr/>
          <p:nvPr>
            <p:extLst>
              <p:ext uri="{D42A27DB-BD31-4B8C-83A1-F6EECF244321}">
                <p14:modId xmlns:p14="http://schemas.microsoft.com/office/powerpoint/2010/main" val="3248095519"/>
              </p:ext>
            </p:extLst>
          </p:nvPr>
        </p:nvGraphicFramePr>
        <p:xfrm>
          <a:off x="417599" y="882457"/>
          <a:ext cx="8160559" cy="38796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972628099"/>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4856F-6C8E-48FA-0463-694D84C9901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F29A42-EF7A-0248-1088-253E291874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FAE25F79-C19A-E427-A11E-0849C2BF8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CA786C9-090C-DE58-163D-5E25FB44B25F}"/>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ubernetes</a:t>
            </a:r>
          </a:p>
        </p:txBody>
      </p:sp>
      <p:sp>
        <p:nvSpPr>
          <p:cNvPr id="3" name="Text Placeholder 3">
            <a:extLst>
              <a:ext uri="{FF2B5EF4-FFF2-40B4-BE49-F238E27FC236}">
                <a16:creationId xmlns:a16="http://schemas.microsoft.com/office/drawing/2014/main" id="{8AE4A172-6BB5-AF02-717C-0A0E90E85F14}"/>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AECABE1E-4252-9561-DFE5-6CA0198318D6}"/>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2B9EFCED-171E-3B2B-6C71-6BAFC1160773}"/>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Technical Concepts</a:t>
            </a:r>
          </a:p>
        </p:txBody>
      </p:sp>
      <p:graphicFrame>
        <p:nvGraphicFramePr>
          <p:cNvPr id="7" name="Diagram 6">
            <a:extLst>
              <a:ext uri="{FF2B5EF4-FFF2-40B4-BE49-F238E27FC236}">
                <a16:creationId xmlns:a16="http://schemas.microsoft.com/office/drawing/2014/main" id="{67488600-5CB1-F29F-25B0-0C70D01066A6}"/>
              </a:ext>
            </a:extLst>
          </p:cNvPr>
          <p:cNvGraphicFramePr/>
          <p:nvPr>
            <p:extLst>
              <p:ext uri="{D42A27DB-BD31-4B8C-83A1-F6EECF244321}">
                <p14:modId xmlns:p14="http://schemas.microsoft.com/office/powerpoint/2010/main" val="375207805"/>
              </p:ext>
            </p:extLst>
          </p:nvPr>
        </p:nvGraphicFramePr>
        <p:xfrm>
          <a:off x="417599" y="882457"/>
          <a:ext cx="8160559" cy="38796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692996802"/>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70D84D-366B-745D-686C-979A62336668}"/>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639766E-CDA5-1840-A445-C943676A321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2FB327D1-E54B-FE8F-AF74-73EB00FE25F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0F88379-111B-5F4C-B49D-B6F1F045B055}"/>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ubernetes</a:t>
            </a:r>
          </a:p>
        </p:txBody>
      </p:sp>
      <p:sp>
        <p:nvSpPr>
          <p:cNvPr id="3" name="Text Placeholder 3">
            <a:extLst>
              <a:ext uri="{FF2B5EF4-FFF2-40B4-BE49-F238E27FC236}">
                <a16:creationId xmlns:a16="http://schemas.microsoft.com/office/drawing/2014/main" id="{A9F5F6BD-57C7-EBD8-47C6-BBCE4D7B26E6}"/>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F92A9E61-7DA6-7A7E-09DD-BDC40CB4851C}"/>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87DE38A4-D25A-D937-60BB-E336B970DB67}"/>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Architecture</a:t>
            </a:r>
          </a:p>
        </p:txBody>
      </p:sp>
      <p:pic>
        <p:nvPicPr>
          <p:cNvPr id="7" name="Picture 6">
            <a:extLst>
              <a:ext uri="{FF2B5EF4-FFF2-40B4-BE49-F238E27FC236}">
                <a16:creationId xmlns:a16="http://schemas.microsoft.com/office/drawing/2014/main" id="{180D9A86-8815-2FE4-628F-A7CB1AC1B03F}"/>
              </a:ext>
            </a:extLst>
          </p:cNvPr>
          <p:cNvPicPr>
            <a:picLocks noChangeAspect="1"/>
          </p:cNvPicPr>
          <p:nvPr/>
        </p:nvPicPr>
        <p:blipFill>
          <a:blip r:embed="rId5"/>
          <a:stretch>
            <a:fillRect/>
          </a:stretch>
        </p:blipFill>
        <p:spPr>
          <a:xfrm>
            <a:off x="675417" y="948956"/>
            <a:ext cx="7250906" cy="3702705"/>
          </a:xfrm>
          <a:prstGeom prst="rect">
            <a:avLst/>
          </a:prstGeom>
        </p:spPr>
      </p:pic>
    </p:spTree>
    <p:extLst>
      <p:ext uri="{BB962C8B-B14F-4D97-AF65-F5344CB8AC3E}">
        <p14:creationId xmlns:p14="http://schemas.microsoft.com/office/powerpoint/2010/main" val="183152147"/>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EF1853-C9B9-E824-D7EF-9BB89F49C438}"/>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BA8964-76BC-1C11-F75E-71859AB9400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88F29A42-EF7A-0248-1088-253E291874E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A653A8C3-C381-6442-AB96-DECC064C988D}"/>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ubernetes</a:t>
            </a:r>
          </a:p>
        </p:txBody>
      </p:sp>
      <p:sp>
        <p:nvSpPr>
          <p:cNvPr id="3" name="Text Placeholder 3">
            <a:extLst>
              <a:ext uri="{FF2B5EF4-FFF2-40B4-BE49-F238E27FC236}">
                <a16:creationId xmlns:a16="http://schemas.microsoft.com/office/drawing/2014/main" id="{452742C2-7AC3-CDDF-7115-C1088F042104}"/>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8C58E72A-A35C-27D1-719F-D599017393F0}"/>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0D0C3BD0-C518-842A-1A24-3ABA24D77A0C}"/>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Manifest</a:t>
            </a:r>
          </a:p>
        </p:txBody>
      </p:sp>
      <p:sp>
        <p:nvSpPr>
          <p:cNvPr id="2" name="TextBox 1">
            <a:extLst>
              <a:ext uri="{FF2B5EF4-FFF2-40B4-BE49-F238E27FC236}">
                <a16:creationId xmlns:a16="http://schemas.microsoft.com/office/drawing/2014/main" id="{8D73C948-555B-0AF2-578A-17F0B6A4EB7D}"/>
              </a:ext>
            </a:extLst>
          </p:cNvPr>
          <p:cNvSpPr txBox="1"/>
          <p:nvPr/>
        </p:nvSpPr>
        <p:spPr>
          <a:xfrm>
            <a:off x="373150" y="878352"/>
            <a:ext cx="8589267" cy="3693088"/>
          </a:xfrm>
          <a:prstGeom prst="rect">
            <a:avLst/>
          </a:prstGeom>
          <a:noFill/>
          <a:ln>
            <a:noFill/>
          </a:ln>
        </p:spPr>
        <p:txBody>
          <a:bodyPr wrap="squar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en-US" sz="1200" b="0" i="0" u="none" strike="noStrike" kern="1200" cap="none" spc="0" normalizeH="0" baseline="0" noProof="0" dirty="0">
                <a:ln>
                  <a:noFill/>
                </a:ln>
                <a:solidFill>
                  <a:schemeClr val="tx2"/>
                </a:solidFill>
                <a:effectLst/>
                <a:uLnTx/>
                <a:uFillTx/>
                <a:latin typeface="Nokia Pure Text Light"/>
                <a:ea typeface="+mn-ea"/>
                <a:cs typeface="+mn-cs"/>
              </a:rPr>
              <a:t>A Kubernetes manifest is a YAML or JSON file that defines the desired state of a Kubernetes resource (e.g., Pods, Deployments, Services). It tells Kubernetes what to create, update, or delete in the cluster.</a:t>
            </a: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lang="en-US" sz="1200" dirty="0">
              <a:solidFill>
                <a:schemeClr val="tx2"/>
              </a:solidFill>
              <a:latin typeface="Nokia Pure Text Light"/>
            </a:endParaRP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kumimoji="0" lang="en-IN" sz="1200" b="0" i="0" u="none" strike="noStrike" kern="1200" cap="none" spc="0" normalizeH="0" baseline="0" noProof="0" dirty="0">
              <a:ln>
                <a:noFill/>
              </a:ln>
              <a:solidFill>
                <a:schemeClr val="tx2"/>
              </a:solidFill>
              <a:effectLst/>
              <a:uLnTx/>
              <a:uFillTx/>
              <a:latin typeface="Nokia Pure Text Light"/>
              <a:ea typeface="+mn-ea"/>
              <a:cs typeface="+mn-cs"/>
            </a:endParaRPr>
          </a:p>
        </p:txBody>
      </p:sp>
      <p:pic>
        <p:nvPicPr>
          <p:cNvPr id="10" name="Picture 9">
            <a:extLst>
              <a:ext uri="{FF2B5EF4-FFF2-40B4-BE49-F238E27FC236}">
                <a16:creationId xmlns:a16="http://schemas.microsoft.com/office/drawing/2014/main" id="{7C361BF7-E1DC-DA9C-A595-733453ED5A78}"/>
              </a:ext>
            </a:extLst>
          </p:cNvPr>
          <p:cNvPicPr>
            <a:picLocks noChangeAspect="1"/>
          </p:cNvPicPr>
          <p:nvPr/>
        </p:nvPicPr>
        <p:blipFill>
          <a:blip r:embed="rId5"/>
          <a:stretch>
            <a:fillRect/>
          </a:stretch>
        </p:blipFill>
        <p:spPr>
          <a:xfrm>
            <a:off x="2204936" y="1386980"/>
            <a:ext cx="4150469" cy="3184460"/>
          </a:xfrm>
          <a:prstGeom prst="rect">
            <a:avLst/>
          </a:prstGeom>
        </p:spPr>
      </p:pic>
    </p:spTree>
    <p:extLst>
      <p:ext uri="{BB962C8B-B14F-4D97-AF65-F5344CB8AC3E}">
        <p14:creationId xmlns:p14="http://schemas.microsoft.com/office/powerpoint/2010/main" val="2012086472"/>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C2B381-C90E-CA35-34D4-6523DF17E2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E25EB7-8DE7-C198-0FAA-7FABBD350D36}"/>
              </a:ext>
            </a:extLst>
          </p:cNvPr>
          <p:cNvSpPr>
            <a:spLocks noGrp="1"/>
          </p:cNvSpPr>
          <p:nvPr>
            <p:ph type="title"/>
          </p:nvPr>
        </p:nvSpPr>
        <p:spPr>
          <a:xfrm>
            <a:off x="426324" y="1608296"/>
            <a:ext cx="3909884" cy="1244465"/>
          </a:xfrm>
        </p:spPr>
        <p:txBody>
          <a:bodyPr/>
          <a:lstStyle/>
          <a:p>
            <a:r>
              <a:rPr lang="en-US" sz="4800" dirty="0"/>
              <a:t>Kubernetes Demo</a:t>
            </a:r>
            <a:endParaRPr lang="en-HU" sz="4800" dirty="0"/>
          </a:p>
        </p:txBody>
      </p:sp>
    </p:spTree>
    <p:extLst>
      <p:ext uri="{BB962C8B-B14F-4D97-AF65-F5344CB8AC3E}">
        <p14:creationId xmlns:p14="http://schemas.microsoft.com/office/powerpoint/2010/main" val="50252064"/>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BE2B7-BCC9-FBC7-7BB8-FB812E343BB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589BB06-24C4-112D-722E-973E2D97A9C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103089522"/>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4B895-F91B-0486-ED67-72D79F54BEC9}"/>
            </a:ext>
          </a:extLst>
        </p:cNvPr>
        <p:cNvGrpSpPr/>
        <p:nvPr/>
      </p:nvGrpSpPr>
      <p:grpSpPr>
        <a:xfrm>
          <a:off x="0" y="0"/>
          <a:ext cx="0" cy="0"/>
          <a:chOff x="0" y="0"/>
          <a:chExt cx="0" cy="0"/>
        </a:xfrm>
      </p:grpSpPr>
      <p:grpSp>
        <p:nvGrpSpPr>
          <p:cNvPr id="15" name="Group 14">
            <a:extLst>
              <a:ext uri="{FF2B5EF4-FFF2-40B4-BE49-F238E27FC236}">
                <a16:creationId xmlns:a16="http://schemas.microsoft.com/office/drawing/2014/main" id="{4EA358CA-831A-CE07-DA74-1D13E0C83069}"/>
              </a:ext>
            </a:extLst>
          </p:cNvPr>
          <p:cNvGrpSpPr>
            <a:grpSpLocks noChangeAspect="1"/>
          </p:cNvGrpSpPr>
          <p:nvPr/>
        </p:nvGrpSpPr>
        <p:grpSpPr>
          <a:xfrm>
            <a:off x="388024" y="1805507"/>
            <a:ext cx="1262570" cy="1808175"/>
            <a:chOff x="598140" y="2015218"/>
            <a:chExt cx="1430040" cy="2048018"/>
          </a:xfrm>
        </p:grpSpPr>
        <p:sp>
          <p:nvSpPr>
            <p:cNvPr id="12" name="Rectangle: Rounded Corners 11">
              <a:extLst>
                <a:ext uri="{FF2B5EF4-FFF2-40B4-BE49-F238E27FC236}">
                  <a16:creationId xmlns:a16="http://schemas.microsoft.com/office/drawing/2014/main" id="{F1D70D9B-8CCA-611A-A43E-B30A459E2846}"/>
                </a:ext>
              </a:extLst>
            </p:cNvPr>
            <p:cNvSpPr/>
            <p:nvPr/>
          </p:nvSpPr>
          <p:spPr>
            <a:xfrm>
              <a:off x="598140" y="2015218"/>
              <a:ext cx="1430040" cy="2048018"/>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spcAft>
                  <a:spcPts val="300"/>
                </a:spcAft>
                <a:buSzPct val="100000"/>
              </a:pPr>
              <a:r>
                <a:rPr lang="en-US" sz="1000" dirty="0">
                  <a:solidFill>
                    <a:schemeClr val="tx2"/>
                  </a:solidFill>
                </a:rPr>
                <a:t>Machine Coding Era (1940’s – 1950’s)</a:t>
              </a:r>
              <a:endParaRPr lang="en-IN" sz="1000" dirty="0">
                <a:solidFill>
                  <a:schemeClr val="tx2"/>
                </a:solidFill>
              </a:endParaRPr>
            </a:p>
          </p:txBody>
        </p:sp>
        <p:pic>
          <p:nvPicPr>
            <p:cNvPr id="9" name="Picture 8" descr="A machine with a receipt&#10;&#10;AI-generated content may be incorrect.">
              <a:extLst>
                <a:ext uri="{FF2B5EF4-FFF2-40B4-BE49-F238E27FC236}">
                  <a16:creationId xmlns:a16="http://schemas.microsoft.com/office/drawing/2014/main" id="{C70E832B-6EA5-3DA4-0479-63E815C7FE80}"/>
                </a:ext>
              </a:extLst>
            </p:cNvPr>
            <p:cNvPicPr>
              <a:picLocks noChangeAspect="1"/>
            </p:cNvPicPr>
            <p:nvPr/>
          </p:nvPicPr>
          <p:blipFill>
            <a:blip r:embed="rId4" cstate="print">
              <a:alphaModFix amt="85000"/>
              <a:extLst>
                <a:ext uri="{28A0092B-C50C-407E-A947-70E740481C1C}">
                  <a14:useLocalDpi xmlns:a14="http://schemas.microsoft.com/office/drawing/2010/main" val="0"/>
                </a:ext>
              </a:extLst>
            </a:blip>
            <a:stretch>
              <a:fillRect/>
            </a:stretch>
          </p:blipFill>
          <p:spPr>
            <a:xfrm>
              <a:off x="660948" y="2159740"/>
              <a:ext cx="1276149" cy="1212088"/>
            </a:xfrm>
            <a:prstGeom prst="rect">
              <a:avLst/>
            </a:prstGeom>
            <a:ln w="9525">
              <a:solidFill>
                <a:srgbClr val="FFFFFF"/>
              </a:solidFill>
            </a:ln>
          </p:spPr>
        </p:pic>
      </p:grpSp>
      <p:graphicFrame>
        <p:nvGraphicFramePr>
          <p:cNvPr id="8" name="Object 7" hidden="1">
            <a:extLst>
              <a:ext uri="{FF2B5EF4-FFF2-40B4-BE49-F238E27FC236}">
                <a16:creationId xmlns:a16="http://schemas.microsoft.com/office/drawing/2014/main" id="{7263A477-0C39-0081-148B-44B3B598BA2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CC64E83D-C99F-48B9-8556-43FD4C569D1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E2D5C219-943D-EF14-BB5F-0AF2270CE3B9}"/>
              </a:ext>
            </a:extLst>
          </p:cNvPr>
          <p:cNvSpPr>
            <a:spLocks noGrp="1"/>
          </p:cNvSpPr>
          <p:nvPr>
            <p:ph type="body" sz="quarter" idx="12"/>
          </p:nvPr>
        </p:nvSpPr>
        <p:spPr>
          <a:xfrm>
            <a:off x="417600" y="265222"/>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Evolution of Digital Era</a:t>
            </a:r>
          </a:p>
        </p:txBody>
      </p:sp>
      <p:sp>
        <p:nvSpPr>
          <p:cNvPr id="3" name="Text Placeholder 3">
            <a:extLst>
              <a:ext uri="{FF2B5EF4-FFF2-40B4-BE49-F238E27FC236}">
                <a16:creationId xmlns:a16="http://schemas.microsoft.com/office/drawing/2014/main" id="{B4B4F437-62C4-3B5A-CE3E-3D8C41EC3D4A}"/>
              </a:ext>
            </a:extLst>
          </p:cNvPr>
          <p:cNvSpPr txBox="1">
            <a:spLocks/>
          </p:cNvSpPr>
          <p:nvPr/>
        </p:nvSpPr>
        <p:spPr>
          <a:xfrm>
            <a:off x="417600" y="605876"/>
            <a:ext cx="8308800" cy="27027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Overview</a:t>
            </a:r>
          </a:p>
        </p:txBody>
      </p:sp>
      <p:grpSp>
        <p:nvGrpSpPr>
          <p:cNvPr id="33" name="Group 32">
            <a:extLst>
              <a:ext uri="{FF2B5EF4-FFF2-40B4-BE49-F238E27FC236}">
                <a16:creationId xmlns:a16="http://schemas.microsoft.com/office/drawing/2014/main" id="{511382D0-CB00-21E0-6F21-D9BE8BB39DA9}"/>
              </a:ext>
            </a:extLst>
          </p:cNvPr>
          <p:cNvGrpSpPr>
            <a:grpSpLocks noChangeAspect="1"/>
          </p:cNvGrpSpPr>
          <p:nvPr/>
        </p:nvGrpSpPr>
        <p:grpSpPr>
          <a:xfrm>
            <a:off x="1808738" y="1805507"/>
            <a:ext cx="1262570" cy="1808175"/>
            <a:chOff x="598140" y="2015218"/>
            <a:chExt cx="1430040" cy="2048018"/>
          </a:xfrm>
        </p:grpSpPr>
        <p:sp>
          <p:nvSpPr>
            <p:cNvPr id="34" name="Rectangle: Rounded Corners 33">
              <a:extLst>
                <a:ext uri="{FF2B5EF4-FFF2-40B4-BE49-F238E27FC236}">
                  <a16:creationId xmlns:a16="http://schemas.microsoft.com/office/drawing/2014/main" id="{EE2BCE43-2666-7823-9CFD-629E94B32360}"/>
                </a:ext>
              </a:extLst>
            </p:cNvPr>
            <p:cNvSpPr/>
            <p:nvPr/>
          </p:nvSpPr>
          <p:spPr>
            <a:xfrm>
              <a:off x="598140" y="2015218"/>
              <a:ext cx="1430040" cy="2048018"/>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spcAft>
                  <a:spcPts val="300"/>
                </a:spcAft>
                <a:buSzPct val="100000"/>
              </a:pPr>
              <a:r>
                <a:rPr lang="en-US" sz="1000" dirty="0">
                  <a:solidFill>
                    <a:schemeClr val="tx2"/>
                  </a:solidFill>
                </a:rPr>
                <a:t>Mainframe Era (1950’s – 1970’s)</a:t>
              </a:r>
              <a:endParaRPr lang="en-IN" sz="1000" dirty="0">
                <a:solidFill>
                  <a:schemeClr val="tx2"/>
                </a:solidFill>
              </a:endParaRPr>
            </a:p>
          </p:txBody>
        </p:sp>
        <p:pic>
          <p:nvPicPr>
            <p:cNvPr id="35" name="Picture 34">
              <a:extLst>
                <a:ext uri="{FF2B5EF4-FFF2-40B4-BE49-F238E27FC236}">
                  <a16:creationId xmlns:a16="http://schemas.microsoft.com/office/drawing/2014/main" id="{FCBB8FF3-DB73-7E7D-504C-B7970CC9C8A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92980" y="2159741"/>
              <a:ext cx="1212087" cy="1212088"/>
            </a:xfrm>
            <a:prstGeom prst="rect">
              <a:avLst/>
            </a:prstGeom>
            <a:ln w="9525">
              <a:solidFill>
                <a:srgbClr val="FFFFFF"/>
              </a:solidFill>
            </a:ln>
          </p:spPr>
        </p:pic>
      </p:grpSp>
      <p:grpSp>
        <p:nvGrpSpPr>
          <p:cNvPr id="36" name="Group 35">
            <a:extLst>
              <a:ext uri="{FF2B5EF4-FFF2-40B4-BE49-F238E27FC236}">
                <a16:creationId xmlns:a16="http://schemas.microsoft.com/office/drawing/2014/main" id="{FD6902DB-6631-B26E-EAAB-56ACB6491328}"/>
              </a:ext>
            </a:extLst>
          </p:cNvPr>
          <p:cNvGrpSpPr>
            <a:grpSpLocks noChangeAspect="1"/>
          </p:cNvGrpSpPr>
          <p:nvPr/>
        </p:nvGrpSpPr>
        <p:grpSpPr>
          <a:xfrm>
            <a:off x="3221798" y="1805506"/>
            <a:ext cx="1262570" cy="1808175"/>
            <a:chOff x="598140" y="2015218"/>
            <a:chExt cx="1430040" cy="2048018"/>
          </a:xfrm>
        </p:grpSpPr>
        <p:sp>
          <p:nvSpPr>
            <p:cNvPr id="37" name="Rectangle: Rounded Corners 36">
              <a:extLst>
                <a:ext uri="{FF2B5EF4-FFF2-40B4-BE49-F238E27FC236}">
                  <a16:creationId xmlns:a16="http://schemas.microsoft.com/office/drawing/2014/main" id="{72BC0E47-9962-0FB0-412B-57DE642CEDEF}"/>
                </a:ext>
              </a:extLst>
            </p:cNvPr>
            <p:cNvSpPr/>
            <p:nvPr/>
          </p:nvSpPr>
          <p:spPr>
            <a:xfrm>
              <a:off x="598140" y="2015218"/>
              <a:ext cx="1430040" cy="2048018"/>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spcAft>
                  <a:spcPts val="300"/>
                </a:spcAft>
                <a:buSzPct val="100000"/>
              </a:pPr>
              <a:r>
                <a:rPr lang="en-US" sz="1000" dirty="0">
                  <a:solidFill>
                    <a:schemeClr val="tx2"/>
                  </a:solidFill>
                </a:rPr>
                <a:t>Personal Computing Era (1970’s – 1990’s)</a:t>
              </a:r>
              <a:endParaRPr lang="en-IN" sz="1000" dirty="0">
                <a:solidFill>
                  <a:schemeClr val="tx2"/>
                </a:solidFill>
              </a:endParaRPr>
            </a:p>
          </p:txBody>
        </p:sp>
        <p:pic>
          <p:nvPicPr>
            <p:cNvPr id="38" name="Picture 37">
              <a:extLst>
                <a:ext uri="{FF2B5EF4-FFF2-40B4-BE49-F238E27FC236}">
                  <a16:creationId xmlns:a16="http://schemas.microsoft.com/office/drawing/2014/main" id="{4D81153A-1139-A810-7F99-FD5CC24AF7E7}"/>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692980" y="2159740"/>
              <a:ext cx="1212087" cy="1212088"/>
            </a:xfrm>
            <a:prstGeom prst="rect">
              <a:avLst/>
            </a:prstGeom>
            <a:ln w="9525">
              <a:solidFill>
                <a:srgbClr val="FFFFFF"/>
              </a:solidFill>
            </a:ln>
          </p:spPr>
        </p:pic>
      </p:grpSp>
      <p:grpSp>
        <p:nvGrpSpPr>
          <p:cNvPr id="39" name="Group 38">
            <a:extLst>
              <a:ext uri="{FF2B5EF4-FFF2-40B4-BE49-F238E27FC236}">
                <a16:creationId xmlns:a16="http://schemas.microsoft.com/office/drawing/2014/main" id="{08964F9B-3CA3-AE24-1EF8-C9BB3155F285}"/>
              </a:ext>
            </a:extLst>
          </p:cNvPr>
          <p:cNvGrpSpPr>
            <a:grpSpLocks noChangeAspect="1"/>
          </p:cNvGrpSpPr>
          <p:nvPr/>
        </p:nvGrpSpPr>
        <p:grpSpPr>
          <a:xfrm>
            <a:off x="4629078" y="1805506"/>
            <a:ext cx="1262570" cy="1808175"/>
            <a:chOff x="598140" y="2015218"/>
            <a:chExt cx="1430040" cy="2048018"/>
          </a:xfrm>
        </p:grpSpPr>
        <p:sp>
          <p:nvSpPr>
            <p:cNvPr id="40" name="Rectangle: Rounded Corners 39">
              <a:extLst>
                <a:ext uri="{FF2B5EF4-FFF2-40B4-BE49-F238E27FC236}">
                  <a16:creationId xmlns:a16="http://schemas.microsoft.com/office/drawing/2014/main" id="{D30A1722-F6DB-52BB-921A-9F252A4A58F2}"/>
                </a:ext>
              </a:extLst>
            </p:cNvPr>
            <p:cNvSpPr/>
            <p:nvPr/>
          </p:nvSpPr>
          <p:spPr>
            <a:xfrm>
              <a:off x="598140" y="2015218"/>
              <a:ext cx="1430040" cy="2048018"/>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spcAft>
                  <a:spcPts val="300"/>
                </a:spcAft>
                <a:buSzPct val="100000"/>
              </a:pPr>
              <a:r>
                <a:rPr lang="en-US" sz="1000" dirty="0">
                  <a:solidFill>
                    <a:schemeClr val="tx2"/>
                  </a:solidFill>
                </a:rPr>
                <a:t>Internet and Web Era (1990’s – 2010’s)</a:t>
              </a:r>
              <a:endParaRPr lang="en-IN" sz="1000" dirty="0">
                <a:solidFill>
                  <a:schemeClr val="tx2"/>
                </a:solidFill>
              </a:endParaRPr>
            </a:p>
          </p:txBody>
        </p:sp>
        <p:pic>
          <p:nvPicPr>
            <p:cNvPr id="41" name="Picture 40">
              <a:extLst>
                <a:ext uri="{FF2B5EF4-FFF2-40B4-BE49-F238E27FC236}">
                  <a16:creationId xmlns:a16="http://schemas.microsoft.com/office/drawing/2014/main" id="{C15662D5-6AC3-DF37-17A5-E06EE381727A}"/>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92980" y="2159740"/>
              <a:ext cx="1212086" cy="1212087"/>
            </a:xfrm>
            <a:prstGeom prst="rect">
              <a:avLst/>
            </a:prstGeom>
            <a:ln w="9525">
              <a:solidFill>
                <a:srgbClr val="FFFFFF"/>
              </a:solidFill>
            </a:ln>
          </p:spPr>
        </p:pic>
      </p:grpSp>
      <p:grpSp>
        <p:nvGrpSpPr>
          <p:cNvPr id="46" name="Group 45">
            <a:extLst>
              <a:ext uri="{FF2B5EF4-FFF2-40B4-BE49-F238E27FC236}">
                <a16:creationId xmlns:a16="http://schemas.microsoft.com/office/drawing/2014/main" id="{5F6C4D46-289A-19F6-B8EF-6A6EAD903ACA}"/>
              </a:ext>
            </a:extLst>
          </p:cNvPr>
          <p:cNvGrpSpPr>
            <a:grpSpLocks noChangeAspect="1"/>
          </p:cNvGrpSpPr>
          <p:nvPr/>
        </p:nvGrpSpPr>
        <p:grpSpPr>
          <a:xfrm>
            <a:off x="6036358" y="1805506"/>
            <a:ext cx="1262570" cy="1808175"/>
            <a:chOff x="598140" y="2015218"/>
            <a:chExt cx="1430040" cy="2048018"/>
          </a:xfrm>
        </p:grpSpPr>
        <p:sp>
          <p:nvSpPr>
            <p:cNvPr id="47" name="Rectangle: Rounded Corners 46">
              <a:extLst>
                <a:ext uri="{FF2B5EF4-FFF2-40B4-BE49-F238E27FC236}">
                  <a16:creationId xmlns:a16="http://schemas.microsoft.com/office/drawing/2014/main" id="{EB7C54D5-885B-8EDF-4BFD-DE1915E852D5}"/>
                </a:ext>
              </a:extLst>
            </p:cNvPr>
            <p:cNvSpPr/>
            <p:nvPr/>
          </p:nvSpPr>
          <p:spPr>
            <a:xfrm>
              <a:off x="598140" y="2015218"/>
              <a:ext cx="1430040" cy="2048018"/>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spcAft>
                  <a:spcPts val="300"/>
                </a:spcAft>
                <a:buSzPct val="100000"/>
              </a:pPr>
              <a:r>
                <a:rPr lang="en-US" sz="1000" dirty="0">
                  <a:solidFill>
                    <a:schemeClr val="tx2"/>
                  </a:solidFill>
                </a:rPr>
                <a:t>Mobile and Cloud Era (2010’s – 2020’s)</a:t>
              </a:r>
              <a:endParaRPr lang="en-IN" sz="1000" dirty="0">
                <a:solidFill>
                  <a:schemeClr val="tx2"/>
                </a:solidFill>
              </a:endParaRPr>
            </a:p>
          </p:txBody>
        </p:sp>
        <p:pic>
          <p:nvPicPr>
            <p:cNvPr id="48" name="Picture 47">
              <a:extLst>
                <a:ext uri="{FF2B5EF4-FFF2-40B4-BE49-F238E27FC236}">
                  <a16:creationId xmlns:a16="http://schemas.microsoft.com/office/drawing/2014/main" id="{4D1ED9F6-DCEC-01F3-8A8D-612AA6C95654}"/>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692980" y="2159740"/>
              <a:ext cx="1212086" cy="1212087"/>
            </a:xfrm>
            <a:prstGeom prst="rect">
              <a:avLst/>
            </a:prstGeom>
            <a:ln w="9525">
              <a:solidFill>
                <a:srgbClr val="FFFFFF"/>
              </a:solidFill>
            </a:ln>
          </p:spPr>
        </p:pic>
      </p:grpSp>
      <p:grpSp>
        <p:nvGrpSpPr>
          <p:cNvPr id="49" name="Group 48">
            <a:extLst>
              <a:ext uri="{FF2B5EF4-FFF2-40B4-BE49-F238E27FC236}">
                <a16:creationId xmlns:a16="http://schemas.microsoft.com/office/drawing/2014/main" id="{0EE24315-DBAC-25A6-7B26-4DCDF5FC4FF6}"/>
              </a:ext>
            </a:extLst>
          </p:cNvPr>
          <p:cNvGrpSpPr>
            <a:grpSpLocks noChangeAspect="1"/>
          </p:cNvGrpSpPr>
          <p:nvPr/>
        </p:nvGrpSpPr>
        <p:grpSpPr>
          <a:xfrm>
            <a:off x="7443638" y="1805506"/>
            <a:ext cx="1262570" cy="1808175"/>
            <a:chOff x="598140" y="2015218"/>
            <a:chExt cx="1430040" cy="2048018"/>
          </a:xfrm>
        </p:grpSpPr>
        <p:sp>
          <p:nvSpPr>
            <p:cNvPr id="50" name="Rectangle: Rounded Corners 49">
              <a:extLst>
                <a:ext uri="{FF2B5EF4-FFF2-40B4-BE49-F238E27FC236}">
                  <a16:creationId xmlns:a16="http://schemas.microsoft.com/office/drawing/2014/main" id="{00610193-2CB6-39BE-2AFA-E9350ED47FB0}"/>
                </a:ext>
              </a:extLst>
            </p:cNvPr>
            <p:cNvSpPr/>
            <p:nvPr/>
          </p:nvSpPr>
          <p:spPr>
            <a:xfrm>
              <a:off x="598140" y="2015218"/>
              <a:ext cx="1430040" cy="2048018"/>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spcAft>
                  <a:spcPts val="300"/>
                </a:spcAft>
                <a:buSzPct val="100000"/>
              </a:pPr>
              <a:r>
                <a:rPr lang="en-US" sz="1000" dirty="0">
                  <a:solidFill>
                    <a:schemeClr val="tx2"/>
                  </a:solidFill>
                </a:rPr>
                <a:t>Ai and Machine Agent Era (2020’s –)</a:t>
              </a:r>
              <a:endParaRPr lang="en-IN" sz="1000" dirty="0">
                <a:solidFill>
                  <a:schemeClr val="tx2"/>
                </a:solidFill>
              </a:endParaRPr>
            </a:p>
          </p:txBody>
        </p:sp>
        <p:pic>
          <p:nvPicPr>
            <p:cNvPr id="51" name="Picture 50">
              <a:extLst>
                <a:ext uri="{FF2B5EF4-FFF2-40B4-BE49-F238E27FC236}">
                  <a16:creationId xmlns:a16="http://schemas.microsoft.com/office/drawing/2014/main" id="{4EE3F666-4769-890A-2412-43FF01408743}"/>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692980" y="2159740"/>
              <a:ext cx="1212086" cy="1212087"/>
            </a:xfrm>
            <a:prstGeom prst="rect">
              <a:avLst/>
            </a:prstGeom>
            <a:ln w="9525">
              <a:solidFill>
                <a:srgbClr val="FFFFFF"/>
              </a:solidFill>
            </a:ln>
          </p:spPr>
        </p:pic>
      </p:grpSp>
    </p:spTree>
    <p:extLst>
      <p:ext uri="{BB962C8B-B14F-4D97-AF65-F5344CB8AC3E}">
        <p14:creationId xmlns:p14="http://schemas.microsoft.com/office/powerpoint/2010/main" val="20592463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0">
        <p159:morph option="byObject"/>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 calcmode="lin" valueType="num">
                                      <p:cBhvr>
                                        <p:cTn id="14" dur="500" fill="hold"/>
                                        <p:tgtEl>
                                          <p:spTgt spid="33"/>
                                        </p:tgtEl>
                                        <p:attrNameLst>
                                          <p:attrName>ppt_w</p:attrName>
                                        </p:attrNameLst>
                                      </p:cBhvr>
                                      <p:tavLst>
                                        <p:tav tm="0">
                                          <p:val>
                                            <p:fltVal val="0"/>
                                          </p:val>
                                        </p:tav>
                                        <p:tav tm="100000">
                                          <p:val>
                                            <p:strVal val="#ppt_w"/>
                                          </p:val>
                                        </p:tav>
                                      </p:tavLst>
                                    </p:anim>
                                    <p:anim calcmode="lin" valueType="num">
                                      <p:cBhvr>
                                        <p:cTn id="15" dur="500" fill="hold"/>
                                        <p:tgtEl>
                                          <p:spTgt spid="33"/>
                                        </p:tgtEl>
                                        <p:attrNameLst>
                                          <p:attrName>ppt_h</p:attrName>
                                        </p:attrNameLst>
                                      </p:cBhvr>
                                      <p:tavLst>
                                        <p:tav tm="0">
                                          <p:val>
                                            <p:fltVal val="0"/>
                                          </p:val>
                                        </p:tav>
                                        <p:tav tm="100000">
                                          <p:val>
                                            <p:strVal val="#ppt_h"/>
                                          </p:val>
                                        </p:tav>
                                      </p:tavLst>
                                    </p:anim>
                                    <p:animEffect transition="in" filter="fade">
                                      <p:cBhvr>
                                        <p:cTn id="16" dur="500"/>
                                        <p:tgtEl>
                                          <p:spTgt spid="33"/>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36"/>
                                        </p:tgtEl>
                                        <p:attrNameLst>
                                          <p:attrName>style.visibility</p:attrName>
                                        </p:attrNameLst>
                                      </p:cBhvr>
                                      <p:to>
                                        <p:strVal val="visible"/>
                                      </p:to>
                                    </p:set>
                                    <p:anim calcmode="lin" valueType="num">
                                      <p:cBhvr>
                                        <p:cTn id="21" dur="500" fill="hold"/>
                                        <p:tgtEl>
                                          <p:spTgt spid="36"/>
                                        </p:tgtEl>
                                        <p:attrNameLst>
                                          <p:attrName>ppt_w</p:attrName>
                                        </p:attrNameLst>
                                      </p:cBhvr>
                                      <p:tavLst>
                                        <p:tav tm="0">
                                          <p:val>
                                            <p:fltVal val="0"/>
                                          </p:val>
                                        </p:tav>
                                        <p:tav tm="100000">
                                          <p:val>
                                            <p:strVal val="#ppt_w"/>
                                          </p:val>
                                        </p:tav>
                                      </p:tavLst>
                                    </p:anim>
                                    <p:anim calcmode="lin" valueType="num">
                                      <p:cBhvr>
                                        <p:cTn id="22" dur="500" fill="hold"/>
                                        <p:tgtEl>
                                          <p:spTgt spid="36"/>
                                        </p:tgtEl>
                                        <p:attrNameLst>
                                          <p:attrName>ppt_h</p:attrName>
                                        </p:attrNameLst>
                                      </p:cBhvr>
                                      <p:tavLst>
                                        <p:tav tm="0">
                                          <p:val>
                                            <p:fltVal val="0"/>
                                          </p:val>
                                        </p:tav>
                                        <p:tav tm="100000">
                                          <p:val>
                                            <p:strVal val="#ppt_h"/>
                                          </p:val>
                                        </p:tav>
                                      </p:tavLst>
                                    </p:anim>
                                    <p:animEffect transition="in" filter="fade">
                                      <p:cBhvr>
                                        <p:cTn id="23" dur="500"/>
                                        <p:tgtEl>
                                          <p:spTgt spid="36"/>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39"/>
                                        </p:tgtEl>
                                        <p:attrNameLst>
                                          <p:attrName>style.visibility</p:attrName>
                                        </p:attrNameLst>
                                      </p:cBhvr>
                                      <p:to>
                                        <p:strVal val="visible"/>
                                      </p:to>
                                    </p:set>
                                    <p:anim calcmode="lin" valueType="num">
                                      <p:cBhvr>
                                        <p:cTn id="28" dur="500" fill="hold"/>
                                        <p:tgtEl>
                                          <p:spTgt spid="39"/>
                                        </p:tgtEl>
                                        <p:attrNameLst>
                                          <p:attrName>ppt_w</p:attrName>
                                        </p:attrNameLst>
                                      </p:cBhvr>
                                      <p:tavLst>
                                        <p:tav tm="0">
                                          <p:val>
                                            <p:fltVal val="0"/>
                                          </p:val>
                                        </p:tav>
                                        <p:tav tm="100000">
                                          <p:val>
                                            <p:strVal val="#ppt_w"/>
                                          </p:val>
                                        </p:tav>
                                      </p:tavLst>
                                    </p:anim>
                                    <p:anim calcmode="lin" valueType="num">
                                      <p:cBhvr>
                                        <p:cTn id="29" dur="500" fill="hold"/>
                                        <p:tgtEl>
                                          <p:spTgt spid="39"/>
                                        </p:tgtEl>
                                        <p:attrNameLst>
                                          <p:attrName>ppt_h</p:attrName>
                                        </p:attrNameLst>
                                      </p:cBhvr>
                                      <p:tavLst>
                                        <p:tav tm="0">
                                          <p:val>
                                            <p:fltVal val="0"/>
                                          </p:val>
                                        </p:tav>
                                        <p:tav tm="100000">
                                          <p:val>
                                            <p:strVal val="#ppt_h"/>
                                          </p:val>
                                        </p:tav>
                                      </p:tavLst>
                                    </p:anim>
                                    <p:animEffect transition="in" filter="fade">
                                      <p:cBhvr>
                                        <p:cTn id="30" dur="500"/>
                                        <p:tgtEl>
                                          <p:spTgt spid="39"/>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46"/>
                                        </p:tgtEl>
                                        <p:attrNameLst>
                                          <p:attrName>style.visibility</p:attrName>
                                        </p:attrNameLst>
                                      </p:cBhvr>
                                      <p:to>
                                        <p:strVal val="visible"/>
                                      </p:to>
                                    </p:set>
                                    <p:anim calcmode="lin" valueType="num">
                                      <p:cBhvr>
                                        <p:cTn id="35" dur="500" fill="hold"/>
                                        <p:tgtEl>
                                          <p:spTgt spid="46"/>
                                        </p:tgtEl>
                                        <p:attrNameLst>
                                          <p:attrName>ppt_w</p:attrName>
                                        </p:attrNameLst>
                                      </p:cBhvr>
                                      <p:tavLst>
                                        <p:tav tm="0">
                                          <p:val>
                                            <p:fltVal val="0"/>
                                          </p:val>
                                        </p:tav>
                                        <p:tav tm="100000">
                                          <p:val>
                                            <p:strVal val="#ppt_w"/>
                                          </p:val>
                                        </p:tav>
                                      </p:tavLst>
                                    </p:anim>
                                    <p:anim calcmode="lin" valueType="num">
                                      <p:cBhvr>
                                        <p:cTn id="36" dur="500" fill="hold"/>
                                        <p:tgtEl>
                                          <p:spTgt spid="46"/>
                                        </p:tgtEl>
                                        <p:attrNameLst>
                                          <p:attrName>ppt_h</p:attrName>
                                        </p:attrNameLst>
                                      </p:cBhvr>
                                      <p:tavLst>
                                        <p:tav tm="0">
                                          <p:val>
                                            <p:fltVal val="0"/>
                                          </p:val>
                                        </p:tav>
                                        <p:tav tm="100000">
                                          <p:val>
                                            <p:strVal val="#ppt_h"/>
                                          </p:val>
                                        </p:tav>
                                      </p:tavLst>
                                    </p:anim>
                                    <p:animEffect transition="in" filter="fade">
                                      <p:cBhvr>
                                        <p:cTn id="37" dur="500"/>
                                        <p:tgtEl>
                                          <p:spTgt spid="46"/>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49"/>
                                        </p:tgtEl>
                                        <p:attrNameLst>
                                          <p:attrName>style.visibility</p:attrName>
                                        </p:attrNameLst>
                                      </p:cBhvr>
                                      <p:to>
                                        <p:strVal val="visible"/>
                                      </p:to>
                                    </p:set>
                                    <p:anim calcmode="lin" valueType="num">
                                      <p:cBhvr>
                                        <p:cTn id="42" dur="500" fill="hold"/>
                                        <p:tgtEl>
                                          <p:spTgt spid="49"/>
                                        </p:tgtEl>
                                        <p:attrNameLst>
                                          <p:attrName>ppt_w</p:attrName>
                                        </p:attrNameLst>
                                      </p:cBhvr>
                                      <p:tavLst>
                                        <p:tav tm="0">
                                          <p:val>
                                            <p:fltVal val="0"/>
                                          </p:val>
                                        </p:tav>
                                        <p:tav tm="100000">
                                          <p:val>
                                            <p:strVal val="#ppt_w"/>
                                          </p:val>
                                        </p:tav>
                                      </p:tavLst>
                                    </p:anim>
                                    <p:anim calcmode="lin" valueType="num">
                                      <p:cBhvr>
                                        <p:cTn id="43" dur="500" fill="hold"/>
                                        <p:tgtEl>
                                          <p:spTgt spid="49"/>
                                        </p:tgtEl>
                                        <p:attrNameLst>
                                          <p:attrName>ppt_h</p:attrName>
                                        </p:attrNameLst>
                                      </p:cBhvr>
                                      <p:tavLst>
                                        <p:tav tm="0">
                                          <p:val>
                                            <p:fltVal val="0"/>
                                          </p:val>
                                        </p:tav>
                                        <p:tav tm="100000">
                                          <p:val>
                                            <p:strVal val="#ppt_h"/>
                                          </p:val>
                                        </p:tav>
                                      </p:tavLst>
                                    </p:anim>
                                    <p:animEffect transition="in" filter="fade">
                                      <p:cBhvr>
                                        <p:cTn id="4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5FEC64-0F95-DBD7-1F68-44DBB9FE4277}"/>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6808E92-7F21-409C-BB5F-2D0FC408DD5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600F7C19-EE8E-B5D0-2328-2CB70CE47C6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F7344F4-28D4-F4B5-DD70-3E0554F9D7FD}"/>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Evolution of Digital Era</a:t>
            </a:r>
          </a:p>
        </p:txBody>
      </p:sp>
      <p:sp>
        <p:nvSpPr>
          <p:cNvPr id="2" name="TextBox 1">
            <a:extLst>
              <a:ext uri="{FF2B5EF4-FFF2-40B4-BE49-F238E27FC236}">
                <a16:creationId xmlns:a16="http://schemas.microsoft.com/office/drawing/2014/main" id="{B0FC5F40-D2F0-6266-D679-638225ADDADE}"/>
              </a:ext>
            </a:extLst>
          </p:cNvPr>
          <p:cNvSpPr txBox="1"/>
          <p:nvPr/>
        </p:nvSpPr>
        <p:spPr>
          <a:xfrm>
            <a:off x="417601" y="1008529"/>
            <a:ext cx="8308800" cy="3529095"/>
          </a:xfrm>
          <a:prstGeom prst="rect">
            <a:avLst/>
          </a:prstGeom>
          <a:noFill/>
          <a:ln>
            <a:noFill/>
          </a:ln>
        </p:spPr>
        <p:txBody>
          <a:bodyPr wrap="square" lIns="0" tIns="0" rIns="0" bIns="0" rtlCol="0">
            <a:noAutofit/>
          </a:bodyPr>
          <a:lstStyle/>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Digital Literacy is increasing</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Our Digital Footprint keeps on  increasing</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Software systems are getting more complex and sophisticated</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New technologies, opportunities and challenges are coming in a fast pace</a:t>
            </a: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US" sz="1200" dirty="0">
                <a:solidFill>
                  <a:schemeClr val="tx2"/>
                </a:solidFill>
                <a:latin typeface="Nokia Pure Text Light"/>
              </a:rPr>
              <a:t>There is a time pressure to capture the opportunities</a:t>
            </a:r>
          </a:p>
        </p:txBody>
      </p:sp>
      <p:sp>
        <p:nvSpPr>
          <p:cNvPr id="3" name="Text Placeholder 3">
            <a:extLst>
              <a:ext uri="{FF2B5EF4-FFF2-40B4-BE49-F238E27FC236}">
                <a16:creationId xmlns:a16="http://schemas.microsoft.com/office/drawing/2014/main" id="{E75087A6-6DA6-6F21-6277-7655F3552B03}"/>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ACF9CA57-6D35-6184-C69A-5536C238E89C}"/>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36A507E1-BD75-1383-6D7A-951D179FC7FE}"/>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Trend</a:t>
            </a:r>
          </a:p>
        </p:txBody>
      </p:sp>
    </p:spTree>
    <p:extLst>
      <p:ext uri="{BB962C8B-B14F-4D97-AF65-F5344CB8AC3E}">
        <p14:creationId xmlns:p14="http://schemas.microsoft.com/office/powerpoint/2010/main" val="1688401288"/>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ADAFF-BC90-F1CB-56AB-8EA49EBF065A}"/>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E8B0D23-2CA4-9D92-8923-CCF1F181BCB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FC1482CE-7D5C-BAC6-5FC7-C2873DAE43F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301A25F-89AF-EC35-7418-A529A2E537D8}"/>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ey Changes in Software Development Methodologies</a:t>
            </a:r>
          </a:p>
        </p:txBody>
      </p:sp>
      <p:sp>
        <p:nvSpPr>
          <p:cNvPr id="3" name="Text Placeholder 3">
            <a:extLst>
              <a:ext uri="{FF2B5EF4-FFF2-40B4-BE49-F238E27FC236}">
                <a16:creationId xmlns:a16="http://schemas.microsoft.com/office/drawing/2014/main" id="{9F0ADFCB-8E89-E895-0B07-5043C870C441}"/>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7715C1EA-8BCE-5BAB-4CC6-F10FA04AACE4}"/>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7DFF332A-8973-DB28-A931-13282A0B996B}"/>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Waterfall - Legacy</a:t>
            </a:r>
          </a:p>
        </p:txBody>
      </p:sp>
      <p:graphicFrame>
        <p:nvGraphicFramePr>
          <p:cNvPr id="9" name="Diagram 8">
            <a:extLst>
              <a:ext uri="{FF2B5EF4-FFF2-40B4-BE49-F238E27FC236}">
                <a16:creationId xmlns:a16="http://schemas.microsoft.com/office/drawing/2014/main" id="{70C64714-F0C3-1A76-B3BD-8E6804C6C820}"/>
              </a:ext>
            </a:extLst>
          </p:cNvPr>
          <p:cNvGraphicFramePr/>
          <p:nvPr>
            <p:extLst>
              <p:ext uri="{D42A27DB-BD31-4B8C-83A1-F6EECF244321}">
                <p14:modId xmlns:p14="http://schemas.microsoft.com/office/powerpoint/2010/main" val="2102526934"/>
              </p:ext>
            </p:extLst>
          </p:nvPr>
        </p:nvGraphicFramePr>
        <p:xfrm>
          <a:off x="0" y="1234321"/>
          <a:ext cx="4495800" cy="352909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cxnSp>
        <p:nvCxnSpPr>
          <p:cNvPr id="11" name="Straight Connector 10">
            <a:extLst>
              <a:ext uri="{FF2B5EF4-FFF2-40B4-BE49-F238E27FC236}">
                <a16:creationId xmlns:a16="http://schemas.microsoft.com/office/drawing/2014/main" id="{F2499C81-769F-A087-F1CA-E83EDF02CE28}"/>
              </a:ext>
            </a:extLst>
          </p:cNvPr>
          <p:cNvCxnSpPr>
            <a:cxnSpLocks/>
          </p:cNvCxnSpPr>
          <p:nvPr/>
        </p:nvCxnSpPr>
        <p:spPr>
          <a:xfrm flipH="1">
            <a:off x="4508500" y="843989"/>
            <a:ext cx="12700" cy="3785161"/>
          </a:xfrm>
          <a:prstGeom prst="line">
            <a:avLst/>
          </a:prstGeom>
          <a:ln w="6350">
            <a:solidFill>
              <a:schemeClr val="tx1">
                <a:lumMod val="50000"/>
              </a:schemeClr>
            </a:solidFill>
          </a:ln>
        </p:spPr>
        <p:style>
          <a:lnRef idx="1">
            <a:schemeClr val="accent6"/>
          </a:lnRef>
          <a:fillRef idx="0">
            <a:schemeClr val="accent6"/>
          </a:fillRef>
          <a:effectRef idx="0">
            <a:schemeClr val="accent6"/>
          </a:effectRef>
          <a:fontRef idx="minor">
            <a:schemeClr val="tx1"/>
          </a:fontRef>
        </p:style>
      </p:cxnSp>
      <p:sp>
        <p:nvSpPr>
          <p:cNvPr id="13" name="TextBox 12">
            <a:extLst>
              <a:ext uri="{FF2B5EF4-FFF2-40B4-BE49-F238E27FC236}">
                <a16:creationId xmlns:a16="http://schemas.microsoft.com/office/drawing/2014/main" id="{BD59BBB8-761A-2AC0-3134-08F435368489}"/>
              </a:ext>
            </a:extLst>
          </p:cNvPr>
          <p:cNvSpPr txBox="1"/>
          <p:nvPr/>
        </p:nvSpPr>
        <p:spPr>
          <a:xfrm>
            <a:off x="4857750" y="1077254"/>
            <a:ext cx="3728950" cy="3750798"/>
          </a:xfrm>
          <a:prstGeom prst="rect">
            <a:avLst/>
          </a:prstGeom>
          <a:noFill/>
          <a:ln>
            <a:noFill/>
          </a:ln>
        </p:spPr>
        <p:txBody>
          <a:bodyPr wrap="square" lIns="0" tIns="0" rIns="0" bIns="0" rtlCol="0">
            <a:noAutofit/>
          </a:bodyPr>
          <a:lstStyle/>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IN" sz="1200" dirty="0">
                <a:solidFill>
                  <a:schemeClr val="tx2"/>
                </a:solidFill>
                <a:latin typeface="Nokia Pure Text Light"/>
              </a:rPr>
              <a:t>With the introduction of  structured programming (oops) a well defined process of creating software emerged.</a:t>
            </a:r>
          </a:p>
          <a:p>
            <a:pPr marR="0" algn="l" defTabSz="180000" rtl="0" eaLnBrk="1" fontAlgn="auto" latinLnBrk="0" hangingPunct="1">
              <a:lnSpc>
                <a:spcPct val="100000"/>
              </a:lnSpc>
              <a:spcBef>
                <a:spcPts val="0"/>
              </a:spcBef>
              <a:spcAft>
                <a:spcPts val="300"/>
              </a:spcAft>
              <a:buClrTx/>
              <a:buSzTx/>
              <a:tabLst>
                <a:tab pos="180000" algn="l"/>
              </a:tabLst>
            </a:pPr>
            <a:endParaRPr lang="en-IN" sz="1200" dirty="0">
              <a:solidFill>
                <a:schemeClr val="tx2"/>
              </a:solidFill>
              <a:latin typeface="Nokia Pure Text Light"/>
            </a:endParaRP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IN" sz="1200" dirty="0">
                <a:solidFill>
                  <a:schemeClr val="tx2"/>
                </a:solidFill>
                <a:latin typeface="Nokia Pure Text Light"/>
              </a:rPr>
              <a:t>Requirements are well documented and finalized before implementation phase</a:t>
            </a:r>
          </a:p>
          <a:p>
            <a:pPr marR="0" algn="l" defTabSz="180000" rtl="0" eaLnBrk="1" fontAlgn="auto" latinLnBrk="0" hangingPunct="1">
              <a:lnSpc>
                <a:spcPct val="100000"/>
              </a:lnSpc>
              <a:spcBef>
                <a:spcPts val="0"/>
              </a:spcBef>
              <a:spcAft>
                <a:spcPts val="300"/>
              </a:spcAft>
              <a:buClrTx/>
              <a:buSzTx/>
              <a:tabLst>
                <a:tab pos="180000" algn="l"/>
              </a:tabLst>
            </a:pPr>
            <a:endParaRPr lang="en-IN" sz="1200" dirty="0">
              <a:solidFill>
                <a:schemeClr val="tx2"/>
              </a:solidFill>
              <a:latin typeface="Nokia Pure Text Light"/>
            </a:endParaRP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IN" sz="1200" dirty="0">
                <a:solidFill>
                  <a:schemeClr val="tx2"/>
                </a:solidFill>
                <a:latin typeface="Nokia Pure Text Light"/>
              </a:rPr>
              <a:t>Led to Long release cycles with new requirements disrupting the development flow</a:t>
            </a:r>
          </a:p>
          <a:p>
            <a:pPr marR="0" algn="l" defTabSz="180000" rtl="0" eaLnBrk="1" fontAlgn="auto" latinLnBrk="0" hangingPunct="1">
              <a:lnSpc>
                <a:spcPct val="100000"/>
              </a:lnSpc>
              <a:spcBef>
                <a:spcPts val="0"/>
              </a:spcBef>
              <a:spcAft>
                <a:spcPts val="300"/>
              </a:spcAft>
              <a:buClrTx/>
              <a:buSzTx/>
              <a:tabLst>
                <a:tab pos="180000" algn="l"/>
              </a:tabLst>
            </a:pPr>
            <a:endParaRPr lang="en-IN" sz="1200" dirty="0">
              <a:solidFill>
                <a:schemeClr val="tx2"/>
              </a:solidFill>
              <a:latin typeface="Nokia Pure Text Light"/>
            </a:endParaRPr>
          </a:p>
          <a:p>
            <a:pPr marL="171450" marR="0" indent="-171450" algn="l" defTabSz="180000" rtl="0" eaLnBrk="1" fontAlgn="auto" latinLnBrk="0" hangingPunct="1">
              <a:lnSpc>
                <a:spcPct val="100000"/>
              </a:lnSpc>
              <a:spcBef>
                <a:spcPts val="0"/>
              </a:spcBef>
              <a:spcAft>
                <a:spcPts val="300"/>
              </a:spcAft>
              <a:buClrTx/>
              <a:buSzTx/>
              <a:buFont typeface="Wingdings" panose="05000000000000000000" pitchFamily="2" charset="2"/>
              <a:buChar char="Ø"/>
              <a:tabLst>
                <a:tab pos="180000" algn="l"/>
              </a:tabLst>
            </a:pPr>
            <a:r>
              <a:rPr lang="en-IN" sz="1200" dirty="0">
                <a:solidFill>
                  <a:schemeClr val="tx2"/>
                </a:solidFill>
                <a:latin typeface="Nokia Pure Text Light"/>
              </a:rPr>
              <a:t>Is suited for stable slow moving world</a:t>
            </a:r>
          </a:p>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endParaRPr kumimoji="0" lang="en-IN" sz="1200" b="0" i="0" u="none" strike="noStrike" kern="1200" cap="none" spc="0" normalizeH="0" baseline="0" noProof="0" dirty="0">
              <a:ln>
                <a:noFill/>
              </a:ln>
              <a:solidFill>
                <a:schemeClr val="tx2"/>
              </a:solidFill>
              <a:effectLst/>
              <a:uLnTx/>
              <a:uFillTx/>
              <a:latin typeface="Nokia Pure Text Light"/>
              <a:ea typeface="+mn-ea"/>
              <a:cs typeface="+mn-cs"/>
            </a:endParaRPr>
          </a:p>
        </p:txBody>
      </p:sp>
    </p:spTree>
    <p:extLst>
      <p:ext uri="{BB962C8B-B14F-4D97-AF65-F5344CB8AC3E}">
        <p14:creationId xmlns:p14="http://schemas.microsoft.com/office/powerpoint/2010/main" val="3595657303"/>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23EFC-B385-98BE-6970-5F7484FFF85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7A767C7-08DE-9A92-C006-92478866F2E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CE8B0D23-2CA4-9D92-8923-CCF1F181BCB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8036062-36FD-496A-70C0-154905969881}"/>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ey Changes in Software Development Methodologies</a:t>
            </a:r>
          </a:p>
        </p:txBody>
      </p:sp>
      <p:sp>
        <p:nvSpPr>
          <p:cNvPr id="3" name="Text Placeholder 3">
            <a:extLst>
              <a:ext uri="{FF2B5EF4-FFF2-40B4-BE49-F238E27FC236}">
                <a16:creationId xmlns:a16="http://schemas.microsoft.com/office/drawing/2014/main" id="{F06729A0-687D-05F8-2E32-D75C5BF78CA4}"/>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06102398-B119-ACB4-0788-FD326284A189}"/>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8944A686-1448-F62D-1C97-0A69C5F34590}"/>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Agile Methodologies - Current</a:t>
            </a:r>
          </a:p>
        </p:txBody>
      </p:sp>
      <p:cxnSp>
        <p:nvCxnSpPr>
          <p:cNvPr id="11" name="Straight Connector 10">
            <a:extLst>
              <a:ext uri="{FF2B5EF4-FFF2-40B4-BE49-F238E27FC236}">
                <a16:creationId xmlns:a16="http://schemas.microsoft.com/office/drawing/2014/main" id="{1E461C71-7043-E59B-847C-315EC4D7F227}"/>
              </a:ext>
            </a:extLst>
          </p:cNvPr>
          <p:cNvCxnSpPr>
            <a:cxnSpLocks/>
          </p:cNvCxnSpPr>
          <p:nvPr/>
        </p:nvCxnSpPr>
        <p:spPr>
          <a:xfrm flipH="1">
            <a:off x="4508500" y="843989"/>
            <a:ext cx="12700" cy="3785161"/>
          </a:xfrm>
          <a:prstGeom prst="line">
            <a:avLst/>
          </a:prstGeom>
          <a:ln w="6350">
            <a:solidFill>
              <a:schemeClr val="tx1">
                <a:lumMod val="50000"/>
              </a:schemeClr>
            </a:solidFill>
          </a:ln>
        </p:spPr>
        <p:style>
          <a:lnRef idx="1">
            <a:schemeClr val="accent6"/>
          </a:lnRef>
          <a:fillRef idx="0">
            <a:schemeClr val="accent6"/>
          </a:fillRef>
          <a:effectRef idx="0">
            <a:schemeClr val="accent6"/>
          </a:effectRef>
          <a:fontRef idx="minor">
            <a:schemeClr val="tx1"/>
          </a:fontRef>
        </p:style>
      </p:cxnSp>
      <p:sp>
        <p:nvSpPr>
          <p:cNvPr id="13" name="TextBox 12">
            <a:extLst>
              <a:ext uri="{FF2B5EF4-FFF2-40B4-BE49-F238E27FC236}">
                <a16:creationId xmlns:a16="http://schemas.microsoft.com/office/drawing/2014/main" id="{6A65C397-BA56-1CE0-089D-960DA346B9B2}"/>
              </a:ext>
            </a:extLst>
          </p:cNvPr>
          <p:cNvSpPr txBox="1"/>
          <p:nvPr/>
        </p:nvSpPr>
        <p:spPr>
          <a:xfrm>
            <a:off x="4862497" y="914206"/>
            <a:ext cx="3728950" cy="3750798"/>
          </a:xfrm>
          <a:prstGeom prst="rect">
            <a:avLst/>
          </a:prstGeom>
          <a:noFill/>
          <a:ln>
            <a:noFill/>
          </a:ln>
        </p:spPr>
        <p:txBody>
          <a:bodyPr wrap="square" lIns="0" tIns="0" rIns="0" bIns="0" rtlCol="0">
            <a:noAutofit/>
          </a:bodyPr>
          <a:lstStyle/>
          <a:p>
            <a:pPr marL="171450" indent="-171450" defTabSz="180000">
              <a:spcAft>
                <a:spcPts val="300"/>
              </a:spcAft>
              <a:buFont typeface="Wingdings" panose="05000000000000000000" pitchFamily="2" charset="2"/>
              <a:buChar char="Ø"/>
              <a:tabLst>
                <a:tab pos="180000" algn="l"/>
              </a:tabLst>
            </a:pPr>
            <a:r>
              <a:rPr lang="en-IN" sz="1200" dirty="0">
                <a:solidFill>
                  <a:schemeClr val="tx2"/>
                </a:solidFill>
                <a:hlinkClick r:id="rId5"/>
              </a:rPr>
              <a:t>https://agilemanifesto.org/principles.html</a:t>
            </a:r>
            <a:endParaRPr lang="en-IN" sz="1200" dirty="0">
              <a:solidFill>
                <a:schemeClr val="tx2"/>
              </a:solidFill>
            </a:endParaRPr>
          </a:p>
          <a:p>
            <a:pPr marR="0" algn="l" defTabSz="180000" rtl="0" eaLnBrk="1" fontAlgn="auto" latinLnBrk="0" hangingPunct="1">
              <a:lnSpc>
                <a:spcPct val="100000"/>
              </a:lnSpc>
              <a:spcBef>
                <a:spcPts val="0"/>
              </a:spcBef>
              <a:spcAft>
                <a:spcPts val="300"/>
              </a:spcAft>
              <a:buClrTx/>
              <a:buSzTx/>
              <a:tabLst>
                <a:tab pos="180000" algn="l"/>
              </a:tabLst>
            </a:pPr>
            <a:endParaRPr lang="en-IN" sz="1200" dirty="0">
              <a:solidFill>
                <a:schemeClr val="tx2"/>
              </a:solidFill>
              <a:latin typeface="Nokia Pure Text Light"/>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Encourages continuous feedback, adaptability, and delivering small, functional increments of software rather than a single large release</a:t>
            </a:r>
          </a:p>
          <a:p>
            <a:pPr defTabSz="180000">
              <a:spcAft>
                <a:spcPts val="300"/>
              </a:spcAft>
              <a:tabLst>
                <a:tab pos="180000" algn="l"/>
              </a:tabLst>
            </a:pPr>
            <a:endParaRPr lang="en-IN" sz="1200" dirty="0">
              <a:solidFill>
                <a:schemeClr val="tx2"/>
              </a:solidFill>
              <a:latin typeface="Nokia Pure Text Light"/>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Work is divided into short cycles called iterations (or sprints). Functional parts of the software are delivered frequently (every few weeks). </a:t>
            </a:r>
          </a:p>
          <a:p>
            <a:pPr marL="171450" indent="-171450" defTabSz="180000">
              <a:spcAft>
                <a:spcPts val="300"/>
              </a:spcAft>
              <a:buFont typeface="Wingdings" panose="05000000000000000000" pitchFamily="2" charset="2"/>
              <a:buChar char="Ø"/>
              <a:tabLst>
                <a:tab pos="180000" algn="l"/>
              </a:tabLst>
            </a:pPr>
            <a:endParaRPr lang="en-US" sz="1200" dirty="0">
              <a:solidFill>
                <a:schemeClr val="tx2"/>
              </a:solidFill>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Regular feedback is integrated into the development process. Requirements and priorities evolve based on feedback.</a:t>
            </a:r>
          </a:p>
          <a:p>
            <a:pPr marL="171450" indent="-171450" defTabSz="180000">
              <a:spcAft>
                <a:spcPts val="300"/>
              </a:spcAft>
              <a:buFont typeface="Wingdings" panose="05000000000000000000" pitchFamily="2" charset="2"/>
              <a:buChar char="Ø"/>
              <a:tabLst>
                <a:tab pos="180000" algn="l"/>
              </a:tabLst>
            </a:pPr>
            <a:endParaRPr lang="en-US" sz="1200" dirty="0">
              <a:solidFill>
                <a:schemeClr val="tx2"/>
              </a:solidFill>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Developers, testers, designers, and business stakeholders work closely together. Teams reflect on their work and adjust their processes regularly (e.g., through retrospectives).</a:t>
            </a:r>
            <a:endParaRPr kumimoji="0" lang="en-IN" sz="1200" b="0" i="0" u="none" strike="noStrike" kern="1200" cap="none" spc="0" normalizeH="0" baseline="0" noProof="0" dirty="0">
              <a:ln>
                <a:noFill/>
              </a:ln>
              <a:solidFill>
                <a:schemeClr val="tx2"/>
              </a:solidFill>
              <a:effectLst/>
              <a:uLnTx/>
              <a:uFillTx/>
              <a:latin typeface="Nokia Pure Text Light"/>
              <a:ea typeface="+mn-ea"/>
              <a:cs typeface="+mn-cs"/>
            </a:endParaRPr>
          </a:p>
        </p:txBody>
      </p:sp>
      <p:pic>
        <p:nvPicPr>
          <p:cNvPr id="10" name="Picture 9" descr="A diagram of software development&#10;&#10;AI-generated content may be incorrect.">
            <a:extLst>
              <a:ext uri="{FF2B5EF4-FFF2-40B4-BE49-F238E27FC236}">
                <a16:creationId xmlns:a16="http://schemas.microsoft.com/office/drawing/2014/main" id="{6C91AF9A-6495-0728-8B4C-11E27A117C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150" y="1752600"/>
            <a:ext cx="4443397" cy="1600200"/>
          </a:xfrm>
          <a:prstGeom prst="rect">
            <a:avLst/>
          </a:prstGeom>
        </p:spPr>
      </p:pic>
    </p:spTree>
    <p:extLst>
      <p:ext uri="{BB962C8B-B14F-4D97-AF65-F5344CB8AC3E}">
        <p14:creationId xmlns:p14="http://schemas.microsoft.com/office/powerpoint/2010/main" val="2775436872"/>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FE8AC-6BA7-542E-2850-853D47CF8DD4}"/>
            </a:ext>
          </a:extLst>
        </p:cNvPr>
        <p:cNvGrpSpPr/>
        <p:nvPr/>
      </p:nvGrpSpPr>
      <p:grpSpPr>
        <a:xfrm>
          <a:off x="0" y="0"/>
          <a:ext cx="0" cy="0"/>
          <a:chOff x="0" y="0"/>
          <a:chExt cx="0" cy="0"/>
        </a:xfrm>
      </p:grpSpPr>
      <p:pic>
        <p:nvPicPr>
          <p:cNvPr id="2" name="Picture 2">
            <a:extLst>
              <a:ext uri="{FF2B5EF4-FFF2-40B4-BE49-F238E27FC236}">
                <a16:creationId xmlns:a16="http://schemas.microsoft.com/office/drawing/2014/main" id="{E4D0B735-1BBF-81DE-7BEB-1F132A7CEA8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47" y="1241794"/>
            <a:ext cx="4508121" cy="25717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Object 7" hidden="1">
            <a:extLst>
              <a:ext uri="{FF2B5EF4-FFF2-40B4-BE49-F238E27FC236}">
                <a16:creationId xmlns:a16="http://schemas.microsoft.com/office/drawing/2014/main" id="{3A57531E-8637-408C-B4D4-1F2597C55EF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a:extLst>
                          <a:ext uri="{FF2B5EF4-FFF2-40B4-BE49-F238E27FC236}">
                            <a16:creationId xmlns:a16="http://schemas.microsoft.com/office/drawing/2014/main" id="{07A767C7-08DE-9A92-C006-92478866F2E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BEC90F7-FFB8-3802-C5B9-EDDF260B7344}"/>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ey Changes in Software Development Methodologies</a:t>
            </a:r>
          </a:p>
        </p:txBody>
      </p:sp>
      <p:sp>
        <p:nvSpPr>
          <p:cNvPr id="3" name="Text Placeholder 3">
            <a:extLst>
              <a:ext uri="{FF2B5EF4-FFF2-40B4-BE49-F238E27FC236}">
                <a16:creationId xmlns:a16="http://schemas.microsoft.com/office/drawing/2014/main" id="{06D129A9-9E55-116A-C77B-F1438D51E424}"/>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EBA17971-CD94-3737-A2DA-7D307C5260A8}"/>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685C0478-AA31-DBB3-1BCA-F7F4F4FF0F5E}"/>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Devops – Development and Operation</a:t>
            </a:r>
          </a:p>
        </p:txBody>
      </p:sp>
      <p:cxnSp>
        <p:nvCxnSpPr>
          <p:cNvPr id="11" name="Straight Connector 10">
            <a:extLst>
              <a:ext uri="{FF2B5EF4-FFF2-40B4-BE49-F238E27FC236}">
                <a16:creationId xmlns:a16="http://schemas.microsoft.com/office/drawing/2014/main" id="{ADB04A8D-B0B1-9FDA-3D78-B5D54C513A03}"/>
              </a:ext>
            </a:extLst>
          </p:cNvPr>
          <p:cNvCxnSpPr>
            <a:cxnSpLocks/>
          </p:cNvCxnSpPr>
          <p:nvPr/>
        </p:nvCxnSpPr>
        <p:spPr>
          <a:xfrm flipH="1">
            <a:off x="4720815" y="817469"/>
            <a:ext cx="12700" cy="3785161"/>
          </a:xfrm>
          <a:prstGeom prst="line">
            <a:avLst/>
          </a:prstGeom>
          <a:ln w="6350">
            <a:solidFill>
              <a:schemeClr val="tx1">
                <a:lumMod val="50000"/>
              </a:schemeClr>
            </a:solidFill>
          </a:ln>
        </p:spPr>
        <p:style>
          <a:lnRef idx="1">
            <a:schemeClr val="accent6"/>
          </a:lnRef>
          <a:fillRef idx="0">
            <a:schemeClr val="accent6"/>
          </a:fillRef>
          <a:effectRef idx="0">
            <a:schemeClr val="accent6"/>
          </a:effectRef>
          <a:fontRef idx="minor">
            <a:schemeClr val="tx1"/>
          </a:fontRef>
        </p:style>
      </p:cxnSp>
      <p:sp>
        <p:nvSpPr>
          <p:cNvPr id="13" name="TextBox 12">
            <a:extLst>
              <a:ext uri="{FF2B5EF4-FFF2-40B4-BE49-F238E27FC236}">
                <a16:creationId xmlns:a16="http://schemas.microsoft.com/office/drawing/2014/main" id="{5FA5E855-C5E5-6CF5-D671-A23DDC1C9E17}"/>
              </a:ext>
            </a:extLst>
          </p:cNvPr>
          <p:cNvSpPr txBox="1"/>
          <p:nvPr/>
        </p:nvSpPr>
        <p:spPr>
          <a:xfrm>
            <a:off x="4946209" y="1077254"/>
            <a:ext cx="3728950" cy="3750798"/>
          </a:xfrm>
          <a:prstGeom prst="rect">
            <a:avLst/>
          </a:prstGeom>
          <a:noFill/>
          <a:ln>
            <a:noFill/>
          </a:ln>
        </p:spPr>
        <p:txBody>
          <a:bodyPr wrap="square" lIns="0" tIns="0" rIns="0" bIns="0" rtlCol="0">
            <a:noAutofit/>
          </a:bodyPr>
          <a:lstStyle/>
          <a:p>
            <a:pPr marR="0" algn="l" defTabSz="180000" rtl="0" eaLnBrk="1" fontAlgn="auto" latinLnBrk="0" hangingPunct="1">
              <a:lnSpc>
                <a:spcPct val="100000"/>
              </a:lnSpc>
              <a:spcBef>
                <a:spcPts val="0"/>
              </a:spcBef>
              <a:spcAft>
                <a:spcPts val="300"/>
              </a:spcAft>
              <a:buClrTx/>
              <a:buSzTx/>
              <a:tabLst>
                <a:tab pos="180000" algn="l"/>
              </a:tabLst>
            </a:pPr>
            <a:endParaRPr lang="en-IN" sz="1200" dirty="0">
              <a:solidFill>
                <a:schemeClr val="tx2"/>
              </a:solidFill>
              <a:latin typeface="Nokia Pure Text Light"/>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DevOps is a culture, methodology, and set of practices that automates the software build, deployment, testing and release</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Code Review</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Continuous Integration</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Continuous Testing</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Frequent Releases</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Is needed to ensure quality in fast evolving world</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Evolved to </a:t>
            </a:r>
            <a:r>
              <a:rPr lang="en-US" sz="1200" dirty="0" err="1">
                <a:solidFill>
                  <a:schemeClr val="tx2"/>
                </a:solidFill>
              </a:rPr>
              <a:t>MLOps</a:t>
            </a:r>
            <a:r>
              <a:rPr lang="en-US" sz="1200" dirty="0">
                <a:solidFill>
                  <a:schemeClr val="tx2"/>
                </a:solidFill>
              </a:rPr>
              <a:t> and </a:t>
            </a:r>
            <a:r>
              <a:rPr lang="en-US" sz="1200" dirty="0" err="1">
                <a:solidFill>
                  <a:schemeClr val="tx2"/>
                </a:solidFill>
              </a:rPr>
              <a:t>GitOps</a:t>
            </a:r>
            <a:r>
              <a:rPr lang="en-US" sz="1200" dirty="0">
                <a:solidFill>
                  <a:schemeClr val="tx2"/>
                </a:solidFill>
              </a:rPr>
              <a:t> to handle emerging challenges</a:t>
            </a:r>
          </a:p>
        </p:txBody>
      </p:sp>
      <p:sp>
        <p:nvSpPr>
          <p:cNvPr id="14" name="TextBox 13">
            <a:extLst>
              <a:ext uri="{FF2B5EF4-FFF2-40B4-BE49-F238E27FC236}">
                <a16:creationId xmlns:a16="http://schemas.microsoft.com/office/drawing/2014/main" id="{BE940750-1AE6-9269-AC51-BDAA438B4A7C}"/>
              </a:ext>
            </a:extLst>
          </p:cNvPr>
          <p:cNvSpPr txBox="1"/>
          <p:nvPr/>
        </p:nvSpPr>
        <p:spPr>
          <a:xfrm>
            <a:off x="0" y="3872795"/>
            <a:ext cx="4572000" cy="338554"/>
          </a:xfrm>
          <a:prstGeom prst="rect">
            <a:avLst/>
          </a:prstGeom>
          <a:noFill/>
          <a:ln>
            <a:noFill/>
          </a:ln>
        </p:spPr>
        <p:txBody>
          <a:bodyPr wrap="square">
            <a:spAutoFit/>
          </a:bodyPr>
          <a:lstStyle/>
          <a:p>
            <a:r>
              <a:rPr lang="en-IN" sz="800" dirty="0"/>
              <a:t>Reference:  https://www.infotech.com/research/ss/evolve-your-software-development-lifecycle-into-a-solution-delivery-lifecycle</a:t>
            </a:r>
          </a:p>
        </p:txBody>
      </p:sp>
    </p:spTree>
    <p:extLst>
      <p:ext uri="{BB962C8B-B14F-4D97-AF65-F5344CB8AC3E}">
        <p14:creationId xmlns:p14="http://schemas.microsoft.com/office/powerpoint/2010/main" val="1160039490"/>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BA8D5-7A41-2B27-7E7A-7C1FDD7EC47A}"/>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EF4B727-E43F-B7AA-C235-7AC04DE1FA2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A6E52E93-5180-A273-1C18-7541418453C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A75CD490-F5F9-1D44-5301-C4441FCEDF35}"/>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ey Changes in Software Delivery &amp; Deployment</a:t>
            </a:r>
          </a:p>
        </p:txBody>
      </p:sp>
      <p:sp>
        <p:nvSpPr>
          <p:cNvPr id="3" name="Text Placeholder 3">
            <a:extLst>
              <a:ext uri="{FF2B5EF4-FFF2-40B4-BE49-F238E27FC236}">
                <a16:creationId xmlns:a16="http://schemas.microsoft.com/office/drawing/2014/main" id="{ADD67EE8-BB7B-81BB-F7D7-580937A6FB67}"/>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FF2998DD-7DA4-5BAB-CC11-0D53A5F96F3E}"/>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1819198A-2BF4-6BDC-662D-7603A09F856F}"/>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Traditional Deployment</a:t>
            </a:r>
          </a:p>
        </p:txBody>
      </p:sp>
      <p:cxnSp>
        <p:nvCxnSpPr>
          <p:cNvPr id="11" name="Straight Connector 10">
            <a:extLst>
              <a:ext uri="{FF2B5EF4-FFF2-40B4-BE49-F238E27FC236}">
                <a16:creationId xmlns:a16="http://schemas.microsoft.com/office/drawing/2014/main" id="{AE98AF61-2A15-C238-2E38-6EFEB34E8EEF}"/>
              </a:ext>
            </a:extLst>
          </p:cNvPr>
          <p:cNvCxnSpPr>
            <a:cxnSpLocks/>
          </p:cNvCxnSpPr>
          <p:nvPr/>
        </p:nvCxnSpPr>
        <p:spPr>
          <a:xfrm flipH="1">
            <a:off x="4559300" y="999837"/>
            <a:ext cx="12700" cy="3785161"/>
          </a:xfrm>
          <a:prstGeom prst="line">
            <a:avLst/>
          </a:prstGeom>
          <a:ln w="6350">
            <a:solidFill>
              <a:schemeClr val="tx1">
                <a:lumMod val="50000"/>
              </a:schemeClr>
            </a:solidFill>
          </a:ln>
        </p:spPr>
        <p:style>
          <a:lnRef idx="1">
            <a:schemeClr val="accent6"/>
          </a:lnRef>
          <a:fillRef idx="0">
            <a:schemeClr val="accent6"/>
          </a:fillRef>
          <a:effectRef idx="0">
            <a:schemeClr val="accent6"/>
          </a:effectRef>
          <a:fontRef idx="minor">
            <a:schemeClr val="tx1"/>
          </a:fontRef>
        </p:style>
      </p:cxnSp>
      <p:sp>
        <p:nvSpPr>
          <p:cNvPr id="13" name="TextBox 12">
            <a:extLst>
              <a:ext uri="{FF2B5EF4-FFF2-40B4-BE49-F238E27FC236}">
                <a16:creationId xmlns:a16="http://schemas.microsoft.com/office/drawing/2014/main" id="{769DBD14-0468-27B1-04E3-F2BAEFC78D5E}"/>
              </a:ext>
            </a:extLst>
          </p:cNvPr>
          <p:cNvSpPr txBox="1"/>
          <p:nvPr/>
        </p:nvSpPr>
        <p:spPr>
          <a:xfrm>
            <a:off x="4902200" y="1241794"/>
            <a:ext cx="3728950" cy="3543204"/>
          </a:xfrm>
          <a:prstGeom prst="rect">
            <a:avLst/>
          </a:prstGeom>
          <a:noFill/>
          <a:ln>
            <a:noFill/>
          </a:ln>
        </p:spPr>
        <p:txBody>
          <a:bodyPr wrap="square" lIns="0" tIns="0" rIns="0" bIns="0" rtlCol="0">
            <a:noAutofit/>
          </a:bodyPr>
          <a:lstStyle/>
          <a:p>
            <a:pPr marL="171450" indent="-171450" defTabSz="180000">
              <a:spcAft>
                <a:spcPts val="300"/>
              </a:spcAft>
              <a:buFont typeface="Wingdings" panose="05000000000000000000" pitchFamily="2" charset="2"/>
              <a:buChar char="Ø"/>
              <a:tabLst>
                <a:tab pos="180000" algn="l"/>
              </a:tabLst>
            </a:pPr>
            <a:r>
              <a:rPr lang="en-IN" sz="1200" dirty="0">
                <a:solidFill>
                  <a:schemeClr val="tx2"/>
                </a:solidFill>
              </a:rPr>
              <a:t>In Traditional Deployment model, the app runs directly on a physical machine.</a:t>
            </a:r>
          </a:p>
          <a:p>
            <a:pPr marL="171450" indent="-171450" defTabSz="180000">
              <a:spcAft>
                <a:spcPts val="300"/>
              </a:spcAft>
              <a:buFont typeface="Wingdings" panose="05000000000000000000" pitchFamily="2" charset="2"/>
              <a:buChar char="Ø"/>
              <a:tabLst>
                <a:tab pos="180000" algn="l"/>
              </a:tabLst>
            </a:pPr>
            <a:endParaRPr lang="en-IN" sz="1200" dirty="0">
              <a:solidFill>
                <a:schemeClr val="tx2"/>
              </a:solidFill>
            </a:endParaRPr>
          </a:p>
          <a:p>
            <a:pPr marL="171450" indent="-171450" defTabSz="180000">
              <a:spcAft>
                <a:spcPts val="300"/>
              </a:spcAft>
              <a:buFont typeface="Wingdings" panose="05000000000000000000" pitchFamily="2" charset="2"/>
              <a:buChar char="Ø"/>
              <a:tabLst>
                <a:tab pos="180000" algn="l"/>
              </a:tabLst>
            </a:pPr>
            <a:r>
              <a:rPr lang="en-IN" sz="1200" dirty="0">
                <a:solidFill>
                  <a:schemeClr val="tx2"/>
                </a:solidFill>
              </a:rPr>
              <a:t>The cpu, memory and io devices are accessed directly through system calls.</a:t>
            </a:r>
          </a:p>
          <a:p>
            <a:pPr defTabSz="180000">
              <a:spcAft>
                <a:spcPts val="300"/>
              </a:spcAft>
              <a:tabLst>
                <a:tab pos="180000" algn="l"/>
              </a:tabLst>
            </a:pPr>
            <a:endParaRPr lang="en-IN" sz="1200" dirty="0">
              <a:solidFill>
                <a:schemeClr val="tx2"/>
              </a:solidFill>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No Additional Resource Overhead.</a:t>
            </a:r>
          </a:p>
          <a:p>
            <a:pPr marL="171450" indent="-171450" defTabSz="180000">
              <a:spcAft>
                <a:spcPts val="300"/>
              </a:spcAft>
              <a:buFont typeface="Wingdings" panose="05000000000000000000" pitchFamily="2" charset="2"/>
              <a:buChar char="Ø"/>
              <a:tabLst>
                <a:tab pos="180000" algn="l"/>
              </a:tabLst>
            </a:pPr>
            <a:endParaRPr lang="en-US" sz="1200" dirty="0">
              <a:solidFill>
                <a:schemeClr val="tx2"/>
              </a:solidFill>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Suitable for latency sensitive applications </a:t>
            </a:r>
          </a:p>
        </p:txBody>
      </p:sp>
      <p:pic>
        <p:nvPicPr>
          <p:cNvPr id="2" name="Picture 2" descr="Traditional deployment model">
            <a:extLst>
              <a:ext uri="{FF2B5EF4-FFF2-40B4-BE49-F238E27FC236}">
                <a16:creationId xmlns:a16="http://schemas.microsoft.com/office/drawing/2014/main" id="{06CD28F8-A09E-7366-5DCB-631680CE90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2380" y="1494783"/>
            <a:ext cx="3140793" cy="2573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3321181"/>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1CEFD-D7B0-5D89-75AF-DEB6E6DCA726}"/>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48BC799-CAA5-660C-6011-178A7B77361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a:extLst>
                          <a:ext uri="{FF2B5EF4-FFF2-40B4-BE49-F238E27FC236}">
                            <a16:creationId xmlns:a16="http://schemas.microsoft.com/office/drawing/2014/main" id="{1EF4B727-E43F-B7AA-C235-7AC04DE1FA2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65599201-EFAC-7E73-A7F8-928A3C76FD84}"/>
              </a:ext>
            </a:extLst>
          </p:cNvPr>
          <p:cNvSpPr>
            <a:spLocks noGrp="1"/>
          </p:cNvSpPr>
          <p:nvPr>
            <p:ph type="body" sz="quarter" idx="12"/>
          </p:nvPr>
        </p:nvSpPr>
        <p:spPr>
          <a:xfrm>
            <a:off x="373150" y="197043"/>
            <a:ext cx="8308800" cy="340654"/>
          </a:xfrm>
        </p:spPr>
        <p:txBody>
          <a:bodyPr/>
          <a:lstStyle/>
          <a:p>
            <a:r>
              <a:rPr kumimoji="0" lang="en-US" sz="2400" b="0" i="0" u="none" strike="noStrike" kern="1200" cap="none" spc="0" normalizeH="0" baseline="0" noProof="0" dirty="0">
                <a:ln>
                  <a:noFill/>
                </a:ln>
                <a:solidFill>
                  <a:srgbClr val="005AFF"/>
                </a:solidFill>
                <a:effectLst/>
                <a:uLnTx/>
                <a:uFillTx/>
                <a:latin typeface="Nokia Pure Headline Light" panose="020B0304020202020204" pitchFamily="34" charset="0"/>
                <a:ea typeface="+mn-ea"/>
                <a:cs typeface="+mn-cs"/>
              </a:rPr>
              <a:t>Key Changes in Software Delivery &amp; Deployment</a:t>
            </a:r>
          </a:p>
        </p:txBody>
      </p:sp>
      <p:sp>
        <p:nvSpPr>
          <p:cNvPr id="3" name="Text Placeholder 3">
            <a:extLst>
              <a:ext uri="{FF2B5EF4-FFF2-40B4-BE49-F238E27FC236}">
                <a16:creationId xmlns:a16="http://schemas.microsoft.com/office/drawing/2014/main" id="{89C4DBE8-7C5B-F5AC-9EF3-FD9B770208D2}"/>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solidFill>
                <a:srgbClr val="001D47"/>
              </a:solidFill>
            </a:endParaRPr>
          </a:p>
        </p:txBody>
      </p:sp>
      <p:sp>
        <p:nvSpPr>
          <p:cNvPr id="5" name="Text Placeholder 3">
            <a:extLst>
              <a:ext uri="{FF2B5EF4-FFF2-40B4-BE49-F238E27FC236}">
                <a16:creationId xmlns:a16="http://schemas.microsoft.com/office/drawing/2014/main" id="{ECCB3F59-74AB-C7C5-1A7E-E9451EEAABE6}"/>
              </a:ext>
            </a:extLst>
          </p:cNvPr>
          <p:cNvSpPr txBox="1">
            <a:spLocks/>
          </p:cNvSpPr>
          <p:nvPr/>
        </p:nvSpPr>
        <p:spPr>
          <a:xfrm>
            <a:off x="417600" y="736600"/>
            <a:ext cx="8308800" cy="340654"/>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005AFF"/>
              </a:solidFill>
            </a:endParaRPr>
          </a:p>
        </p:txBody>
      </p:sp>
      <p:sp>
        <p:nvSpPr>
          <p:cNvPr id="6" name="Text Placeholder 3">
            <a:extLst>
              <a:ext uri="{FF2B5EF4-FFF2-40B4-BE49-F238E27FC236}">
                <a16:creationId xmlns:a16="http://schemas.microsoft.com/office/drawing/2014/main" id="{DCE34EF1-9D9D-AF7E-642A-BEF546923C29}"/>
              </a:ext>
            </a:extLst>
          </p:cNvPr>
          <p:cNvSpPr txBox="1">
            <a:spLocks/>
          </p:cNvSpPr>
          <p:nvPr/>
        </p:nvSpPr>
        <p:spPr>
          <a:xfrm>
            <a:off x="373150" y="572060"/>
            <a:ext cx="8308800" cy="271929"/>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accent1"/>
                </a:solidFill>
                <a:latin typeface="Nokia Pure Headline Light" panose="020B03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tx1">
                    <a:lumMod val="50000"/>
                  </a:schemeClr>
                </a:solidFill>
              </a:rPr>
              <a:t>Virtualized Deployment</a:t>
            </a:r>
          </a:p>
        </p:txBody>
      </p:sp>
      <p:cxnSp>
        <p:nvCxnSpPr>
          <p:cNvPr id="11" name="Straight Connector 10">
            <a:extLst>
              <a:ext uri="{FF2B5EF4-FFF2-40B4-BE49-F238E27FC236}">
                <a16:creationId xmlns:a16="http://schemas.microsoft.com/office/drawing/2014/main" id="{ED74C6E0-2BEC-E011-F99D-D2B057CF18A8}"/>
              </a:ext>
            </a:extLst>
          </p:cNvPr>
          <p:cNvCxnSpPr>
            <a:cxnSpLocks/>
          </p:cNvCxnSpPr>
          <p:nvPr/>
        </p:nvCxnSpPr>
        <p:spPr>
          <a:xfrm flipH="1">
            <a:off x="4559300" y="999837"/>
            <a:ext cx="12700" cy="3785161"/>
          </a:xfrm>
          <a:prstGeom prst="line">
            <a:avLst/>
          </a:prstGeom>
          <a:ln w="6350">
            <a:solidFill>
              <a:schemeClr val="tx1">
                <a:lumMod val="50000"/>
              </a:schemeClr>
            </a:solidFill>
          </a:ln>
        </p:spPr>
        <p:style>
          <a:lnRef idx="1">
            <a:schemeClr val="accent6"/>
          </a:lnRef>
          <a:fillRef idx="0">
            <a:schemeClr val="accent6"/>
          </a:fillRef>
          <a:effectRef idx="0">
            <a:schemeClr val="accent6"/>
          </a:effectRef>
          <a:fontRef idx="minor">
            <a:schemeClr val="tx1"/>
          </a:fontRef>
        </p:style>
      </p:cxnSp>
      <p:sp>
        <p:nvSpPr>
          <p:cNvPr id="13" name="TextBox 12">
            <a:extLst>
              <a:ext uri="{FF2B5EF4-FFF2-40B4-BE49-F238E27FC236}">
                <a16:creationId xmlns:a16="http://schemas.microsoft.com/office/drawing/2014/main" id="{7F51EAE4-A738-6EF4-5EB9-961E47B761EB}"/>
              </a:ext>
            </a:extLst>
          </p:cNvPr>
          <p:cNvSpPr txBox="1"/>
          <p:nvPr/>
        </p:nvSpPr>
        <p:spPr>
          <a:xfrm>
            <a:off x="4870450" y="1042892"/>
            <a:ext cx="3728950" cy="3543204"/>
          </a:xfrm>
          <a:prstGeom prst="rect">
            <a:avLst/>
          </a:prstGeom>
          <a:noFill/>
          <a:ln>
            <a:noFill/>
          </a:ln>
        </p:spPr>
        <p:txBody>
          <a:bodyPr wrap="square" lIns="0" tIns="0" rIns="0" bIns="0" rtlCol="0">
            <a:noAutofit/>
          </a:bodyPr>
          <a:lstStyle/>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A Virtual Machine (VM) is a software-based emulation of a physical computer that runs an operating system (OS) and applications just like a physical machine. It operates using virtualization technology, allowing multiple VMs to run on a single physical server</a:t>
            </a:r>
          </a:p>
          <a:p>
            <a:pPr marL="171450" indent="-171450" defTabSz="180000">
              <a:spcAft>
                <a:spcPts val="300"/>
              </a:spcAft>
              <a:buFont typeface="Wingdings" panose="05000000000000000000" pitchFamily="2" charset="2"/>
              <a:buChar char="Ø"/>
              <a:tabLst>
                <a:tab pos="180000" algn="l"/>
              </a:tabLst>
            </a:pPr>
            <a:endParaRPr lang="en-US" sz="1200" dirty="0">
              <a:solidFill>
                <a:schemeClr val="tx2"/>
              </a:solidFill>
            </a:endParaRP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Hypervisor is the software that creates and manages VMs (e.g., VMware, Microsoft Hyper-V, KVM).</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Resource isolation</a:t>
            </a:r>
          </a:p>
          <a:p>
            <a:pPr marL="171450" indent="-171450" defTabSz="180000">
              <a:spcAft>
                <a:spcPts val="300"/>
              </a:spcAft>
              <a:buFont typeface="Wingdings" panose="05000000000000000000" pitchFamily="2" charset="2"/>
              <a:buChar char="Ø"/>
              <a:tabLst>
                <a:tab pos="180000" algn="l"/>
              </a:tabLst>
            </a:pPr>
            <a:r>
              <a:rPr lang="en-US" sz="1200" dirty="0">
                <a:solidFill>
                  <a:schemeClr val="tx2"/>
                </a:solidFill>
              </a:rPr>
              <a:t>App Code &gt; Guest OS &gt; Virtualization Layer &gt; Host OS</a:t>
            </a:r>
          </a:p>
          <a:p>
            <a:pPr marL="171450" indent="-171450" defTabSz="180000">
              <a:spcAft>
                <a:spcPts val="300"/>
              </a:spcAft>
              <a:buFont typeface="Wingdings" panose="05000000000000000000" pitchFamily="2" charset="2"/>
              <a:buChar char="Ø"/>
              <a:tabLst>
                <a:tab pos="180000" algn="l"/>
              </a:tabLst>
            </a:pPr>
            <a:r>
              <a:rPr lang="en-US" sz="1200" dirty="0">
                <a:solidFill>
                  <a:srgbClr val="C00000"/>
                </a:solidFill>
              </a:rPr>
              <a:t>Traditionally, An overhead of 10 – 25 % is introduced due to additional layers.</a:t>
            </a:r>
          </a:p>
        </p:txBody>
      </p:sp>
      <p:pic>
        <p:nvPicPr>
          <p:cNvPr id="7" name="Picture 4" descr="A diagram of different types of software&#10;&#10;AI-generated content may be incorrect.">
            <a:extLst>
              <a:ext uri="{FF2B5EF4-FFF2-40B4-BE49-F238E27FC236}">
                <a16:creationId xmlns:a16="http://schemas.microsoft.com/office/drawing/2014/main" id="{AE72C211-BD2C-4B6C-605E-FDCA3699C6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3018" y="1411344"/>
            <a:ext cx="3107845" cy="2573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6411730"/>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Master">
  <a:themeElements>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300"/>
          </a:spcAft>
          <a:buClrTx/>
          <a:buSzTx/>
          <a:buFont typeface="+mj-lt"/>
          <a:buNone/>
          <a:tabLst>
            <a:tab pos="180000" algn="l"/>
          </a:tabLst>
          <a:defRPr kumimoji="0" sz="1200" b="0" i="0" u="none" strike="noStrike" kern="1200" cap="none" spc="0" normalizeH="0" baseline="0" noProof="0" dirty="0" smtClean="0">
            <a:ln>
              <a:noFill/>
            </a:ln>
            <a:solidFill>
              <a:schemeClr val="tx2"/>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Nokia 2023 - PowerPoint template v1.3.1" id="{95EDE8F7-58AB-440A-82AC-4DC9E39A292C}" vid="{533A05BB-4D65-4753-8F51-029C8738C2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file>

<file path=customXml/item3.xml><?xml version="1.0" encoding="utf-8"?>
<p:properties xmlns:p="http://schemas.microsoft.com/office/2006/metadata/properties" xmlns:xsi="http://www.w3.org/2001/XMLSchema-instance" xmlns:pc="http://schemas.microsoft.com/office/infopath/2007/PartnerControls">
  <documentManagement>
    <_dlc_DocId xmlns="71c5aaf6-e6ce-465b-b873-5148d2a4c105">N2I4PULILST4-1131536756-10297</_dlc_DocId>
    <HideFromDelve xmlns="71c5aaf6-e6ce-465b-b873-5148d2a4c105">false</HideFromDelve>
    <_dlc_DocIdUrl xmlns="71c5aaf6-e6ce-465b-b873-5148d2a4c105">
      <Url>https://nokianam.sharepoint.com/sites/CNSGBCMarketing/_layouts/15/DocIdRedir.aspx?ID=N2I4PULILST4-1131536756-10297</Url>
      <Description>N2I4PULILST4-1131536756-10297</Description>
    </_dlc_DocIdUrl>
  </documentManagement>
</p:properties>
</file>

<file path=customXml/item4.xml><?xml version="1.0" encoding="utf-8"?>
<?mso-contentType ?>
<SharedContentType xmlns="Microsoft.SharePoint.Taxonomy.ContentTypeSync" SourceId="34c87397-5fc1-491e-85e7-d6110dbe9cbd" ContentTypeId="0x0101" PreviousValue="false"/>
</file>

<file path=customXml/item5.xml><?xml version="1.0" encoding="utf-8"?>
<ct:contentTypeSchema xmlns:ct="http://schemas.microsoft.com/office/2006/metadata/contentType" xmlns:ma="http://schemas.microsoft.com/office/2006/metadata/properties/metaAttributes" ct:_="" ma:_="" ma:contentTypeName="Document" ma:contentTypeID="0x0101003ECD77696FBD474CA74D12FACE62CB32" ma:contentTypeVersion="7" ma:contentTypeDescription="Create a new document." ma:contentTypeScope="" ma:versionID="076380b96b55e50686efb50be5887e7e">
  <xsd:schema xmlns:xsd="http://www.w3.org/2001/XMLSchema" xmlns:xs="http://www.w3.org/2001/XMLSchema" xmlns:p="http://schemas.microsoft.com/office/2006/metadata/properties" xmlns:ns2="71c5aaf6-e6ce-465b-b873-5148d2a4c105" xmlns:ns3="86544b72-ceca-427f-8848-f7d6375f3fc3" targetNamespace="http://schemas.microsoft.com/office/2006/metadata/properties" ma:root="true" ma:fieldsID="dd75a5f09e1740f6176ee3bfb07071f0" ns2:_="" ns3:_="">
    <xsd:import namespace="71c5aaf6-e6ce-465b-b873-5148d2a4c105"/>
    <xsd:import namespace="86544b72-ceca-427f-8848-f7d6375f3fc3"/>
    <xsd:element name="properties">
      <xsd:complexType>
        <xsd:sequence>
          <xsd:element name="documentManagement">
            <xsd:complexType>
              <xsd:all>
                <xsd:element ref="ns2:_dlc_DocId" minOccurs="0"/>
                <xsd:element ref="ns2:_dlc_DocIdUrl" minOccurs="0"/>
                <xsd:element ref="ns2:_dlc_DocIdPersistId" minOccurs="0"/>
                <xsd:element ref="ns2:HideFromDelve" minOccurs="0"/>
                <xsd:element ref="ns3:MediaServiceMetadata" minOccurs="0"/>
                <xsd:element ref="ns3:MediaServiceFastMetadata"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HideFromDelve" ma:index="11" nillable="true" ma:displayName="HideFromDelve" ma:default="0" ma:internalName="HideFromDel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6544b72-ceca-427f-8848-f7d6375f3fc3"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DE5BBF-7B3A-4ADA-88A4-E8A233FB7FEE}">
  <ds:schemaRefs>
    <ds:schemaRef ds:uri="http://schemas.microsoft.com/sharepoint/v3/contenttype/forms"/>
  </ds:schemaRefs>
</ds:datastoreItem>
</file>

<file path=customXml/itemProps2.xml><?xml version="1.0" encoding="utf-8"?>
<ds:datastoreItem xmlns:ds="http://schemas.openxmlformats.org/officeDocument/2006/customXml" ds:itemID="{F798CD6E-8F10-48B6-B5E8-3A68F204ABFA}">
  <ds:schemaRefs>
    <ds:schemaRef ds:uri="http://schemas.microsoft.com/sharepoint/events"/>
  </ds:schemaRefs>
</ds:datastoreItem>
</file>

<file path=customXml/itemProps3.xml><?xml version="1.0" encoding="utf-8"?>
<ds:datastoreItem xmlns:ds="http://schemas.openxmlformats.org/officeDocument/2006/customXml" ds:itemID="{048AD06E-68AC-4082-88B8-2CC7C07DDFA9}">
  <ds:schemaRefs>
    <ds:schemaRef ds:uri="http://schemas.microsoft.com/office/infopath/2007/PartnerControls"/>
    <ds:schemaRef ds:uri="http://purl.org/dc/dcmitype/"/>
    <ds:schemaRef ds:uri="http://www.w3.org/XML/1998/namespace"/>
    <ds:schemaRef ds:uri="http://purl.org/dc/elements/1.1/"/>
    <ds:schemaRef ds:uri="http://schemas.openxmlformats.org/package/2006/metadata/core-properties"/>
    <ds:schemaRef ds:uri="http://schemas.microsoft.com/office/2006/documentManagement/types"/>
    <ds:schemaRef ds:uri="86544b72-ceca-427f-8848-f7d6375f3fc3"/>
    <ds:schemaRef ds:uri="71c5aaf6-e6ce-465b-b873-5148d2a4c105"/>
    <ds:schemaRef ds:uri="http://schemas.microsoft.com/office/2006/metadata/properties"/>
    <ds:schemaRef ds:uri="http://purl.org/dc/terms/"/>
  </ds:schemaRefs>
</ds:datastoreItem>
</file>

<file path=customXml/itemProps4.xml><?xml version="1.0" encoding="utf-8"?>
<ds:datastoreItem xmlns:ds="http://schemas.openxmlformats.org/officeDocument/2006/customXml" ds:itemID="{462077B3-36BF-454C-8148-95ECB1463FC9}">
  <ds:schemaRefs>
    <ds:schemaRef ds:uri="Microsoft.SharePoint.Taxonomy.ContentTypeSync"/>
  </ds:schemaRefs>
</ds:datastoreItem>
</file>

<file path=customXml/itemProps5.xml><?xml version="1.0" encoding="utf-8"?>
<ds:datastoreItem xmlns:ds="http://schemas.openxmlformats.org/officeDocument/2006/customXml" ds:itemID="{AD11F5D8-264A-421A-A59A-76049CA46C51}">
  <ds:schemaRefs>
    <ds:schemaRef ds:uri="71c5aaf6-e6ce-465b-b873-5148d2a4c105"/>
    <ds:schemaRef ds:uri="86544b72-ceca-427f-8848-f7d6375f3fc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5d471751-9675-428d-917b-70f44f9630b0}" enabled="0" method="" siteId="{5d471751-9675-428d-917b-70f44f9630b0}" removed="1"/>
</clbl:labelList>
</file>

<file path=docProps/app.xml><?xml version="1.0" encoding="utf-8"?>
<Properties xmlns="http://schemas.openxmlformats.org/officeDocument/2006/extended-properties" xmlns:vt="http://schemas.openxmlformats.org/officeDocument/2006/docPropsVTypes">
  <Template>Nokia 2023 - PowerPoint template v1.3.1</Template>
  <TotalTime>2651</TotalTime>
  <Words>2154</Words>
  <Application>Microsoft Office PowerPoint</Application>
  <PresentationFormat>On-screen Show (16:9)</PresentationFormat>
  <Paragraphs>227</Paragraphs>
  <Slides>26</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rial</vt:lpstr>
      <vt:lpstr>Calibri</vt:lpstr>
      <vt:lpstr>Nokia Pure Headline Light</vt:lpstr>
      <vt:lpstr>Nokia Pure Headline Ultra Light</vt:lpstr>
      <vt:lpstr>Nokia Pure Text</vt:lpstr>
      <vt:lpstr>Nokia Pure Text Light</vt:lpstr>
      <vt:lpstr>Wingdings</vt:lpstr>
      <vt:lpstr>1. Master</vt:lpstr>
      <vt:lpstr>think-cell Slide</vt:lpstr>
      <vt:lpstr>Introduction to Containerization and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tainers 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ubernetes Demo</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Sankaranarayanan A (Nokia)</cp:lastModifiedBy>
  <cp:revision>178</cp:revision>
  <dcterms:created xsi:type="dcterms:W3CDTF">2023-02-07T12:20:59Z</dcterms:created>
  <dcterms:modified xsi:type="dcterms:W3CDTF">2025-03-27T17:5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CD77696FBD474CA74D12FACE62CB32</vt:lpwstr>
  </property>
  <property fmtid="{D5CDD505-2E9C-101B-9397-08002B2CF9AE}" pid="3" name="_dlc_DocIdItemGuid">
    <vt:lpwstr>ab8e23ba-7683-4e84-9a7d-dff0b9d1c9e0</vt:lpwstr>
  </property>
  <property fmtid="{D5CDD505-2E9C-101B-9397-08002B2CF9AE}" pid="4" name="MediaServiceImageTags">
    <vt:lpwstr/>
  </property>
</Properties>
</file>